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64" r:id="rId4"/>
  </p:sldMasterIdLst>
  <p:notesMasterIdLst>
    <p:notesMasterId r:id="rId12"/>
  </p:notesMasterIdLst>
  <p:handoutMasterIdLst>
    <p:handoutMasterId r:id="rId13"/>
  </p:handoutMasterIdLst>
  <p:sldIdLst>
    <p:sldId id="2147474934" r:id="rId5"/>
    <p:sldId id="2147474933" r:id="rId6"/>
    <p:sldId id="268" r:id="rId7"/>
    <p:sldId id="267" r:id="rId8"/>
    <p:sldId id="260" r:id="rId9"/>
    <p:sldId id="266" r:id="rId10"/>
    <p:sldId id="2147474935" r:id="rId11"/>
  </p:sldIdLst>
  <p:sldSz cx="9144000" cy="5143500" type="screen16x9"/>
  <p:notesSz cx="6858000" cy="9144000"/>
  <p:custDataLst>
    <p:tags r:id="rId14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1030" userDrawn="1">
          <p15:clr>
            <a:srgbClr val="A4A3A4"/>
          </p15:clr>
        </p15:guide>
        <p15:guide id="4" orient="horz" pos="2731" userDrawn="1">
          <p15:clr>
            <a:srgbClr val="A4A3A4"/>
          </p15:clr>
        </p15:guide>
        <p15:guide id="5" orient="horz" pos="684">
          <p15:clr>
            <a:srgbClr val="A4A3A4"/>
          </p15:clr>
        </p15:guide>
        <p15:guide id="6" orient="horz" pos="509" userDrawn="1">
          <p15:clr>
            <a:srgbClr val="A4A3A4"/>
          </p15:clr>
        </p15:guide>
        <p15:guide id="7" orient="horz" pos="3122">
          <p15:clr>
            <a:srgbClr val="A4A3A4"/>
          </p15:clr>
        </p15:guide>
        <p15:guide id="8" orient="horz" pos="2995">
          <p15:clr>
            <a:srgbClr val="A4A3A4"/>
          </p15:clr>
        </p15:guide>
        <p15:guide id="9" orient="horz" pos="2096" userDrawn="1">
          <p15:clr>
            <a:srgbClr val="A4A3A4"/>
          </p15:clr>
        </p15:guide>
        <p15:guide id="10" orient="horz" pos="804">
          <p15:clr>
            <a:srgbClr val="A4A3A4"/>
          </p15:clr>
        </p15:guide>
        <p15:guide id="11" orient="horz" pos="333">
          <p15:clr>
            <a:srgbClr val="A4A3A4"/>
          </p15:clr>
        </p15:guide>
        <p15:guide id="12" pos="337">
          <p15:clr>
            <a:srgbClr val="A4A3A4"/>
          </p15:clr>
        </p15:guide>
        <p15:guide id="13" pos="5448">
          <p15:clr>
            <a:srgbClr val="A4A3A4"/>
          </p15:clr>
        </p15:guide>
        <p15:guide id="14" pos="2881">
          <p15:clr>
            <a:srgbClr val="A4A3A4"/>
          </p15:clr>
        </p15:guide>
        <p15:guide id="15" pos="786">
          <p15:clr>
            <a:srgbClr val="A4A3A4"/>
          </p15:clr>
        </p15:guide>
        <p15:guide id="16" pos="5031">
          <p15:clr>
            <a:srgbClr val="A4A3A4"/>
          </p15:clr>
        </p15:guide>
        <p15:guide id="17" orient="horz" pos="1445">
          <p15:clr>
            <a:srgbClr val="A4A3A4"/>
          </p15:clr>
        </p15:guide>
        <p15:guide id="18" orient="horz" pos="304">
          <p15:clr>
            <a:srgbClr val="A4A3A4"/>
          </p15:clr>
        </p15:guide>
        <p15:guide id="19" orient="horz" pos="233">
          <p15:clr>
            <a:srgbClr val="A4A3A4"/>
          </p15:clr>
        </p15:guide>
        <p15:guide id="20" orient="horz" pos="14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1C3E5"/>
    <a:srgbClr val="616160"/>
    <a:srgbClr val="806356"/>
    <a:srgbClr val="A49178"/>
    <a:srgbClr val="FFFFFF"/>
    <a:srgbClr val="003C91"/>
    <a:srgbClr val="FFD100"/>
    <a:srgbClr val="031AB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A7E3180-9C56-452E-874E-DF13A25BD65E}" v="166" dt="2024-07-03T07:33:58.85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Stijl, gemiddeld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Stijl, gemiddeld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Stijl, gemiddeld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Stijl, gemiddeld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Stijl, gemiddeld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5760" autoAdjust="0"/>
  </p:normalViewPr>
  <p:slideViewPr>
    <p:cSldViewPr snapToGrid="0" showGuides="1">
      <p:cViewPr varScale="1">
        <p:scale>
          <a:sx n="106" d="100"/>
          <a:sy n="106" d="100"/>
        </p:scale>
        <p:origin x="734" y="72"/>
      </p:cViewPr>
      <p:guideLst>
        <p:guide orient="horz" pos="1620"/>
        <p:guide pos="2880"/>
        <p:guide orient="horz" pos="1030"/>
        <p:guide orient="horz" pos="2731"/>
        <p:guide orient="horz" pos="684"/>
        <p:guide orient="horz" pos="509"/>
        <p:guide orient="horz" pos="3122"/>
        <p:guide orient="horz" pos="2995"/>
        <p:guide orient="horz" pos="2096"/>
        <p:guide orient="horz" pos="804"/>
        <p:guide orient="horz" pos="333"/>
        <p:guide pos="337"/>
        <p:guide pos="5448"/>
        <p:guide pos="2881"/>
        <p:guide pos="786"/>
        <p:guide pos="5031"/>
        <p:guide orient="horz" pos="1445"/>
        <p:guide orient="horz" pos="304"/>
        <p:guide orient="horz" pos="233"/>
        <p:guide orient="horz" pos="14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728"/>
    </p:cViewPr>
  </p:sorterViewPr>
  <p:notesViewPr>
    <p:cSldViewPr snapToGrid="0" showGuides="1">
      <p:cViewPr varScale="1">
        <p:scale>
          <a:sx n="125" d="100"/>
          <a:sy n="125" d="100"/>
        </p:scale>
        <p:origin x="-4863" y="-6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ags" Target="tags/tag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imitri Militschenko" userId="2698819e-f51f-4938-ae1b-875ffc6b70b6" providerId="ADAL" clId="{9A7E3180-9C56-452E-874E-DF13A25BD65E}"/>
    <pc:docChg chg="undo custSel addSld delSld modSld sldOrd replTag">
      <pc:chgData name="Dimitri Militschenko" userId="2698819e-f51f-4938-ae1b-875ffc6b70b6" providerId="ADAL" clId="{9A7E3180-9C56-452E-874E-DF13A25BD65E}" dt="2024-07-03T07:34:09.700" v="979" actId="478"/>
      <pc:docMkLst>
        <pc:docMk/>
      </pc:docMkLst>
      <pc:sldChg chg="mod ord modShow">
        <pc:chgData name="Dimitri Militschenko" userId="2698819e-f51f-4938-ae1b-875ffc6b70b6" providerId="ADAL" clId="{9A7E3180-9C56-452E-874E-DF13A25BD65E}" dt="2024-07-02T16:27:46.301" v="973"/>
        <pc:sldMkLst>
          <pc:docMk/>
          <pc:sldMk cId="1886290154" sldId="260"/>
        </pc:sldMkLst>
      </pc:sldChg>
      <pc:sldChg chg="addSp delSp modSp mod">
        <pc:chgData name="Dimitri Militschenko" userId="2698819e-f51f-4938-ae1b-875ffc6b70b6" providerId="ADAL" clId="{9A7E3180-9C56-452E-874E-DF13A25BD65E}" dt="2024-07-03T07:34:09.700" v="979" actId="478"/>
        <pc:sldMkLst>
          <pc:docMk/>
          <pc:sldMk cId="1325671312" sldId="267"/>
        </pc:sldMkLst>
        <pc:spChg chg="mod">
          <ac:chgData name="Dimitri Militschenko" userId="2698819e-f51f-4938-ae1b-875ffc6b70b6" providerId="ADAL" clId="{9A7E3180-9C56-452E-874E-DF13A25BD65E}" dt="2024-07-02T16:16:47.194" v="597" actId="27636"/>
          <ac:spMkLst>
            <pc:docMk/>
            <pc:sldMk cId="1325671312" sldId="267"/>
            <ac:spMk id="2" creationId="{A2604645-BD76-4EBE-9A3F-B03F74B4AE0C}"/>
          </ac:spMkLst>
        </pc:spChg>
        <pc:spChg chg="mod">
          <ac:chgData name="Dimitri Militschenko" userId="2698819e-f51f-4938-ae1b-875ffc6b70b6" providerId="ADAL" clId="{9A7E3180-9C56-452E-874E-DF13A25BD65E}" dt="2024-07-02T16:27:24.021" v="970" actId="14100"/>
          <ac:spMkLst>
            <pc:docMk/>
            <pc:sldMk cId="1325671312" sldId="267"/>
            <ac:spMk id="3" creationId="{33ADE9D8-D38A-4351-88F3-E78D2F95414B}"/>
          </ac:spMkLst>
        </pc:spChg>
        <pc:spChg chg="del">
          <ac:chgData name="Dimitri Militschenko" userId="2698819e-f51f-4938-ae1b-875ffc6b70b6" providerId="ADAL" clId="{9A7E3180-9C56-452E-874E-DF13A25BD65E}" dt="2024-07-02T16:10:58.012" v="510" actId="478"/>
          <ac:spMkLst>
            <pc:docMk/>
            <pc:sldMk cId="1325671312" sldId="267"/>
            <ac:spMk id="6" creationId="{35CFDC91-23C4-7C66-A66A-EFC121B3F93D}"/>
          </ac:spMkLst>
        </pc:spChg>
        <pc:spChg chg="del">
          <ac:chgData name="Dimitri Militschenko" userId="2698819e-f51f-4938-ae1b-875ffc6b70b6" providerId="ADAL" clId="{9A7E3180-9C56-452E-874E-DF13A25BD65E}" dt="2024-07-02T16:10:58.012" v="510" actId="478"/>
          <ac:spMkLst>
            <pc:docMk/>
            <pc:sldMk cId="1325671312" sldId="267"/>
            <ac:spMk id="7" creationId="{02D268C4-EBA3-C4C2-803A-1BA7A89826FE}"/>
          </ac:spMkLst>
        </pc:spChg>
        <pc:spChg chg="del">
          <ac:chgData name="Dimitri Militschenko" userId="2698819e-f51f-4938-ae1b-875ffc6b70b6" providerId="ADAL" clId="{9A7E3180-9C56-452E-874E-DF13A25BD65E}" dt="2024-07-02T16:10:58.012" v="510" actId="478"/>
          <ac:spMkLst>
            <pc:docMk/>
            <pc:sldMk cId="1325671312" sldId="267"/>
            <ac:spMk id="8" creationId="{9F3D3D85-F99C-4924-9F03-F9A6DB5BF6D3}"/>
          </ac:spMkLst>
        </pc:spChg>
        <pc:spChg chg="del">
          <ac:chgData name="Dimitri Militschenko" userId="2698819e-f51f-4938-ae1b-875ffc6b70b6" providerId="ADAL" clId="{9A7E3180-9C56-452E-874E-DF13A25BD65E}" dt="2024-07-02T16:10:59.258" v="511" actId="478"/>
          <ac:spMkLst>
            <pc:docMk/>
            <pc:sldMk cId="1325671312" sldId="267"/>
            <ac:spMk id="11" creationId="{B8906F85-7AA7-487C-A5AD-6406A0AD16C9}"/>
          </ac:spMkLst>
        </pc:spChg>
        <pc:spChg chg="add del mod">
          <ac:chgData name="Dimitri Militschenko" userId="2698819e-f51f-4938-ae1b-875ffc6b70b6" providerId="ADAL" clId="{9A7E3180-9C56-452E-874E-DF13A25BD65E}" dt="2024-07-03T07:34:09.700" v="979" actId="478"/>
          <ac:spMkLst>
            <pc:docMk/>
            <pc:sldMk cId="1325671312" sldId="267"/>
            <ac:spMk id="12" creationId="{C14165D3-63FB-A8CE-7309-DA1341511B3F}"/>
          </ac:spMkLst>
        </pc:spChg>
        <pc:spChg chg="add mod">
          <ac:chgData name="Dimitri Militschenko" userId="2698819e-f51f-4938-ae1b-875ffc6b70b6" providerId="ADAL" clId="{9A7E3180-9C56-452E-874E-DF13A25BD65E}" dt="2024-07-02T16:14:27.370" v="546" actId="1076"/>
          <ac:spMkLst>
            <pc:docMk/>
            <pc:sldMk cId="1325671312" sldId="267"/>
            <ac:spMk id="15" creationId="{C8E20985-B152-B543-B8D0-8CD8B09A3B01}"/>
          </ac:spMkLst>
        </pc:spChg>
        <pc:spChg chg="add mod">
          <ac:chgData name="Dimitri Militschenko" userId="2698819e-f51f-4938-ae1b-875ffc6b70b6" providerId="ADAL" clId="{9A7E3180-9C56-452E-874E-DF13A25BD65E}" dt="2024-07-02T16:14:34.102" v="548" actId="1076"/>
          <ac:spMkLst>
            <pc:docMk/>
            <pc:sldMk cId="1325671312" sldId="267"/>
            <ac:spMk id="16" creationId="{817A8E80-BBC4-BFDC-14D3-B0567E35864A}"/>
          </ac:spMkLst>
        </pc:spChg>
        <pc:spChg chg="add mod">
          <ac:chgData name="Dimitri Militschenko" userId="2698819e-f51f-4938-ae1b-875ffc6b70b6" providerId="ADAL" clId="{9A7E3180-9C56-452E-874E-DF13A25BD65E}" dt="2024-07-02T16:26:01.370" v="915" actId="1037"/>
          <ac:spMkLst>
            <pc:docMk/>
            <pc:sldMk cId="1325671312" sldId="267"/>
            <ac:spMk id="17" creationId="{AD95645E-7C8C-F5DD-1260-233893EEDF3F}"/>
          </ac:spMkLst>
        </pc:spChg>
        <pc:picChg chg="del">
          <ac:chgData name="Dimitri Militschenko" userId="2698819e-f51f-4938-ae1b-875ffc6b70b6" providerId="ADAL" clId="{9A7E3180-9C56-452E-874E-DF13A25BD65E}" dt="2024-07-02T16:10:55.665" v="509" actId="478"/>
          <ac:picMkLst>
            <pc:docMk/>
            <pc:sldMk cId="1325671312" sldId="267"/>
            <ac:picMk id="4" creationId="{E5DB18C1-FF95-4085-A97E-89EC374C183C}"/>
          </ac:picMkLst>
        </pc:picChg>
        <pc:picChg chg="add mod">
          <ac:chgData name="Dimitri Militschenko" userId="2698819e-f51f-4938-ae1b-875ffc6b70b6" providerId="ADAL" clId="{9A7E3180-9C56-452E-874E-DF13A25BD65E}" dt="2024-07-03T07:33:58.847" v="977" actId="14826"/>
          <ac:picMkLst>
            <pc:docMk/>
            <pc:sldMk cId="1325671312" sldId="267"/>
            <ac:picMk id="10" creationId="{251D57BB-16E8-ADDB-395A-F42A5F6104F2}"/>
          </ac:picMkLst>
        </pc:picChg>
        <pc:picChg chg="add mod modCrop">
          <ac:chgData name="Dimitri Militschenko" userId="2698819e-f51f-4938-ae1b-875ffc6b70b6" providerId="ADAL" clId="{9A7E3180-9C56-452E-874E-DF13A25BD65E}" dt="2024-07-02T16:14:04.875" v="542" actId="1076"/>
          <ac:picMkLst>
            <pc:docMk/>
            <pc:sldMk cId="1325671312" sldId="267"/>
            <ac:picMk id="14" creationId="{5B7DFAC3-BC5E-2A07-36E3-4943877A9E49}"/>
          </ac:picMkLst>
        </pc:picChg>
        <pc:picChg chg="add mod">
          <ac:chgData name="Dimitri Militschenko" userId="2698819e-f51f-4938-ae1b-875ffc6b70b6" providerId="ADAL" clId="{9A7E3180-9C56-452E-874E-DF13A25BD65E}" dt="2024-07-02T16:26:01.370" v="915" actId="1037"/>
          <ac:picMkLst>
            <pc:docMk/>
            <pc:sldMk cId="1325671312" sldId="267"/>
            <ac:picMk id="18" creationId="{4D22C820-4356-C3D9-37D4-5B4FF615A236}"/>
          </ac:picMkLst>
        </pc:picChg>
        <pc:picChg chg="del">
          <ac:chgData name="Dimitri Militschenko" userId="2698819e-f51f-4938-ae1b-875ffc6b70b6" providerId="ADAL" clId="{9A7E3180-9C56-452E-874E-DF13A25BD65E}" dt="2024-07-02T16:10:59.836" v="512" actId="478"/>
          <ac:picMkLst>
            <pc:docMk/>
            <pc:sldMk cId="1325671312" sldId="267"/>
            <ac:picMk id="3082" creationId="{19338693-CC4F-4B5F-8F78-36B1E5AEB5F9}"/>
          </ac:picMkLst>
        </pc:picChg>
      </pc:sldChg>
      <pc:sldChg chg="addSp delSp modSp mod">
        <pc:chgData name="Dimitri Militschenko" userId="2698819e-f51f-4938-ae1b-875ffc6b70b6" providerId="ADAL" clId="{9A7E3180-9C56-452E-874E-DF13A25BD65E}" dt="2024-07-02T16:19:40.319" v="638" actId="1035"/>
        <pc:sldMkLst>
          <pc:docMk/>
          <pc:sldMk cId="3857656806" sldId="268"/>
        </pc:sldMkLst>
        <pc:spChg chg="mod ord">
          <ac:chgData name="Dimitri Militschenko" userId="2698819e-f51f-4938-ae1b-875ffc6b70b6" providerId="ADAL" clId="{9A7E3180-9C56-452E-874E-DF13A25BD65E}" dt="2024-07-02T16:15:08.512" v="559" actId="20577"/>
          <ac:spMkLst>
            <pc:docMk/>
            <pc:sldMk cId="3857656806" sldId="268"/>
            <ac:spMk id="4" creationId="{9ABB5680-89F6-44F1-B670-54B4F1CD8F8D}"/>
          </ac:spMkLst>
        </pc:spChg>
        <pc:spChg chg="mod ord">
          <ac:chgData name="Dimitri Militschenko" userId="2698819e-f51f-4938-ae1b-875ffc6b70b6" providerId="ADAL" clId="{9A7E3180-9C56-452E-874E-DF13A25BD65E}" dt="2024-07-02T16:19:40.319" v="638" actId="1035"/>
          <ac:spMkLst>
            <pc:docMk/>
            <pc:sldMk cId="3857656806" sldId="268"/>
            <ac:spMk id="7" creationId="{5415EFE7-4743-4F5B-9F97-0B72861A9A0E}"/>
          </ac:spMkLst>
        </pc:spChg>
        <pc:spChg chg="mod ord">
          <ac:chgData name="Dimitri Militschenko" userId="2698819e-f51f-4938-ae1b-875ffc6b70b6" providerId="ADAL" clId="{9A7E3180-9C56-452E-874E-DF13A25BD65E}" dt="2024-07-02T16:05:13.759" v="271" actId="1076"/>
          <ac:spMkLst>
            <pc:docMk/>
            <pc:sldMk cId="3857656806" sldId="268"/>
            <ac:spMk id="9" creationId="{4FD84C1D-11EE-BECF-66C2-4953F913B53B}"/>
          </ac:spMkLst>
        </pc:spChg>
        <pc:spChg chg="add del mod">
          <ac:chgData name="Dimitri Militschenko" userId="2698819e-f51f-4938-ae1b-875ffc6b70b6" providerId="ADAL" clId="{9A7E3180-9C56-452E-874E-DF13A25BD65E}" dt="2024-07-02T16:05:40.484" v="285" actId="478"/>
          <ac:spMkLst>
            <pc:docMk/>
            <pc:sldMk cId="3857656806" sldId="268"/>
            <ac:spMk id="14" creationId="{E3219A4E-86ED-4C55-3768-E504FEE77528}"/>
          </ac:spMkLst>
        </pc:spChg>
        <pc:spChg chg="add mod">
          <ac:chgData name="Dimitri Militschenko" userId="2698819e-f51f-4938-ae1b-875ffc6b70b6" providerId="ADAL" clId="{9A7E3180-9C56-452E-874E-DF13A25BD65E}" dt="2024-07-02T16:05:45.053" v="286" actId="1076"/>
          <ac:spMkLst>
            <pc:docMk/>
            <pc:sldMk cId="3857656806" sldId="268"/>
            <ac:spMk id="16" creationId="{6E60AE98-E009-8305-0234-E16E07A075B9}"/>
          </ac:spMkLst>
        </pc:spChg>
        <pc:graphicFrameChg chg="mod">
          <ac:chgData name="Dimitri Militschenko" userId="2698819e-f51f-4938-ae1b-875ffc6b70b6" providerId="ADAL" clId="{9A7E3180-9C56-452E-874E-DF13A25BD65E}" dt="2024-07-02T16:04:02.827" v="260"/>
          <ac:graphicFrameMkLst>
            <pc:docMk/>
            <pc:sldMk cId="3857656806" sldId="268"/>
            <ac:graphicFrameMk id="2" creationId="{933053D3-4431-4B6F-A6DC-AE85B08B2637}"/>
          </ac:graphicFrameMkLst>
        </pc:graphicFrameChg>
        <pc:picChg chg="del mod">
          <ac:chgData name="Dimitri Militschenko" userId="2698819e-f51f-4938-ae1b-875ffc6b70b6" providerId="ADAL" clId="{9A7E3180-9C56-452E-874E-DF13A25BD65E}" dt="2024-07-02T16:01:48.287" v="148" actId="478"/>
          <ac:picMkLst>
            <pc:docMk/>
            <pc:sldMk cId="3857656806" sldId="268"/>
            <ac:picMk id="5" creationId="{F7CDB726-8FD1-45A1-BC5E-5AECFDDD5C3D}"/>
          </ac:picMkLst>
        </pc:picChg>
        <pc:picChg chg="add mod ord">
          <ac:chgData name="Dimitri Militschenko" userId="2698819e-f51f-4938-ae1b-875ffc6b70b6" providerId="ADAL" clId="{9A7E3180-9C56-452E-874E-DF13A25BD65E}" dt="2024-07-02T16:05:24.326" v="280" actId="1035"/>
          <ac:picMkLst>
            <pc:docMk/>
            <pc:sldMk cId="3857656806" sldId="268"/>
            <ac:picMk id="6" creationId="{0537901D-3421-8B6D-1DA5-669151D6EF56}"/>
          </ac:picMkLst>
        </pc:picChg>
        <pc:picChg chg="mod ord">
          <ac:chgData name="Dimitri Militschenko" userId="2698819e-f51f-4938-ae1b-875ffc6b70b6" providerId="ADAL" clId="{9A7E3180-9C56-452E-874E-DF13A25BD65E}" dt="2024-07-02T16:04:02.824" v="248"/>
          <ac:picMkLst>
            <pc:docMk/>
            <pc:sldMk cId="3857656806" sldId="268"/>
            <ac:picMk id="8" creationId="{5D1C1C45-1CCA-2E6D-524C-593A30B1AD86}"/>
          </ac:picMkLst>
        </pc:picChg>
        <pc:picChg chg="add mod ord modCrop">
          <ac:chgData name="Dimitri Militschenko" userId="2698819e-f51f-4938-ae1b-875ffc6b70b6" providerId="ADAL" clId="{9A7E3180-9C56-452E-874E-DF13A25BD65E}" dt="2024-07-02T16:04:02.825" v="254"/>
          <ac:picMkLst>
            <pc:docMk/>
            <pc:sldMk cId="3857656806" sldId="268"/>
            <ac:picMk id="11" creationId="{070A6944-395A-86C6-F434-722B09C7CA10}"/>
          </ac:picMkLst>
        </pc:picChg>
        <pc:picChg chg="add mod ord">
          <ac:chgData name="Dimitri Militschenko" userId="2698819e-f51f-4938-ae1b-875ffc6b70b6" providerId="ADAL" clId="{9A7E3180-9C56-452E-874E-DF13A25BD65E}" dt="2024-07-02T16:04:02.824" v="252"/>
          <ac:picMkLst>
            <pc:docMk/>
            <pc:sldMk cId="3857656806" sldId="268"/>
            <ac:picMk id="13" creationId="{14512FD1-5795-BD74-A4DB-ED6D9D7229D4}"/>
          </ac:picMkLst>
        </pc:picChg>
        <pc:picChg chg="add del mod modCrop">
          <ac:chgData name="Dimitri Militschenko" userId="2698819e-f51f-4938-ae1b-875ffc6b70b6" providerId="ADAL" clId="{9A7E3180-9C56-452E-874E-DF13A25BD65E}" dt="2024-07-02T16:04:46.839" v="270" actId="478"/>
          <ac:picMkLst>
            <pc:docMk/>
            <pc:sldMk cId="3857656806" sldId="268"/>
            <ac:picMk id="15" creationId="{6F26942D-3D45-DF0C-093F-CE71260B8FD4}"/>
          </ac:picMkLst>
        </pc:picChg>
      </pc:sldChg>
      <pc:sldChg chg="modSp mod">
        <pc:chgData name="Dimitri Militschenko" userId="2698819e-f51f-4938-ae1b-875ffc6b70b6" providerId="ADAL" clId="{9A7E3180-9C56-452E-874E-DF13A25BD65E}" dt="2024-07-02T15:57:55.888" v="77" actId="6549"/>
        <pc:sldMkLst>
          <pc:docMk/>
          <pc:sldMk cId="1595703888" sldId="2147474933"/>
        </pc:sldMkLst>
        <pc:spChg chg="mod">
          <ac:chgData name="Dimitri Militschenko" userId="2698819e-f51f-4938-ae1b-875ffc6b70b6" providerId="ADAL" clId="{9A7E3180-9C56-452E-874E-DF13A25BD65E}" dt="2024-07-02T15:56:34.171" v="48" actId="1035"/>
          <ac:spMkLst>
            <pc:docMk/>
            <pc:sldMk cId="1595703888" sldId="2147474933"/>
            <ac:spMk id="2" creationId="{F4AA4937-101B-87F3-2347-324F536E1D33}"/>
          </ac:spMkLst>
        </pc:spChg>
        <pc:spChg chg="mod">
          <ac:chgData name="Dimitri Militschenko" userId="2698819e-f51f-4938-ae1b-875ffc6b70b6" providerId="ADAL" clId="{9A7E3180-9C56-452E-874E-DF13A25BD65E}" dt="2024-07-02T15:57:55.888" v="77" actId="6549"/>
          <ac:spMkLst>
            <pc:docMk/>
            <pc:sldMk cId="1595703888" sldId="2147474933"/>
            <ac:spMk id="5" creationId="{3095CD59-4895-4C6D-88A7-6ADB9E88D4F5}"/>
          </ac:spMkLst>
        </pc:spChg>
        <pc:spChg chg="mod">
          <ac:chgData name="Dimitri Militschenko" userId="2698819e-f51f-4938-ae1b-875ffc6b70b6" providerId="ADAL" clId="{9A7E3180-9C56-452E-874E-DF13A25BD65E}" dt="2024-07-02T15:56:20.979" v="12" actId="14100"/>
          <ac:spMkLst>
            <pc:docMk/>
            <pc:sldMk cId="1595703888" sldId="2147474933"/>
            <ac:spMk id="6" creationId="{723E1BD3-552E-49A5-B2A6-1038DF60EC3B}"/>
          </ac:spMkLst>
        </pc:spChg>
        <pc:spChg chg="mod">
          <ac:chgData name="Dimitri Militschenko" userId="2698819e-f51f-4938-ae1b-875ffc6b70b6" providerId="ADAL" clId="{9A7E3180-9C56-452E-874E-DF13A25BD65E}" dt="2024-07-02T15:57:40.030" v="61" actId="1076"/>
          <ac:spMkLst>
            <pc:docMk/>
            <pc:sldMk cId="1595703888" sldId="2147474933"/>
            <ac:spMk id="97" creationId="{9E4F75E8-8225-4FA1-8EA8-1512A38292F4}"/>
          </ac:spMkLst>
        </pc:spChg>
        <pc:picChg chg="mod">
          <ac:chgData name="Dimitri Militschenko" userId="2698819e-f51f-4938-ae1b-875ffc6b70b6" providerId="ADAL" clId="{9A7E3180-9C56-452E-874E-DF13A25BD65E}" dt="2024-07-02T15:57:14.104" v="49" actId="14826"/>
          <ac:picMkLst>
            <pc:docMk/>
            <pc:sldMk cId="1595703888" sldId="2147474933"/>
            <ac:picMk id="7" creationId="{3B7E9843-47AD-BBDB-AA54-E167A90035B5}"/>
          </ac:picMkLst>
        </pc:picChg>
      </pc:sldChg>
      <pc:sldChg chg="add del mod modShow">
        <pc:chgData name="Dimitri Militschenko" userId="2698819e-f51f-4938-ae1b-875ffc6b70b6" providerId="ADAL" clId="{9A7E3180-9C56-452E-874E-DF13A25BD65E}" dt="2024-07-02T16:29:50.225" v="974" actId="47"/>
        <pc:sldMkLst>
          <pc:docMk/>
          <pc:sldMk cId="1865429046" sldId="2147474936"/>
        </pc:sldMkLst>
      </pc:sldChg>
      <pc:sldChg chg="addSp delSp modSp add del mod ord modShow">
        <pc:chgData name="Dimitri Militschenko" userId="2698819e-f51f-4938-ae1b-875ffc6b70b6" providerId="ADAL" clId="{9A7E3180-9C56-452E-874E-DF13A25BD65E}" dt="2024-07-02T16:29:53.525" v="976" actId="47"/>
        <pc:sldMkLst>
          <pc:docMk/>
          <pc:sldMk cId="1496641415" sldId="2147474937"/>
        </pc:sldMkLst>
        <pc:spChg chg="mod">
          <ac:chgData name="Dimitri Militschenko" userId="2698819e-f51f-4938-ae1b-875ffc6b70b6" providerId="ADAL" clId="{9A7E3180-9C56-452E-874E-DF13A25BD65E}" dt="2024-07-02T16:09:09.995" v="429" actId="20577"/>
          <ac:spMkLst>
            <pc:docMk/>
            <pc:sldMk cId="1496641415" sldId="2147474937"/>
            <ac:spMk id="2" creationId="{A2604645-BD76-4EBE-9A3F-B03F74B4AE0C}"/>
          </ac:spMkLst>
        </pc:spChg>
        <pc:spChg chg="mod">
          <ac:chgData name="Dimitri Militschenko" userId="2698819e-f51f-4938-ae1b-875ffc6b70b6" providerId="ADAL" clId="{9A7E3180-9C56-452E-874E-DF13A25BD65E}" dt="2024-07-02T16:08:53.122" v="405"/>
          <ac:spMkLst>
            <pc:docMk/>
            <pc:sldMk cId="1496641415" sldId="2147474937"/>
            <ac:spMk id="3" creationId="{33ADE9D8-D38A-4351-88F3-E78D2F95414B}"/>
          </ac:spMkLst>
        </pc:spChg>
        <pc:spChg chg="del">
          <ac:chgData name="Dimitri Militschenko" userId="2698819e-f51f-4938-ae1b-875ffc6b70b6" providerId="ADAL" clId="{9A7E3180-9C56-452E-874E-DF13A25BD65E}" dt="2024-07-02T16:08:22.573" v="350" actId="478"/>
          <ac:spMkLst>
            <pc:docMk/>
            <pc:sldMk cId="1496641415" sldId="2147474937"/>
            <ac:spMk id="6" creationId="{35CFDC91-23C4-7C66-A66A-EFC121B3F93D}"/>
          </ac:spMkLst>
        </pc:spChg>
        <pc:spChg chg="del">
          <ac:chgData name="Dimitri Militschenko" userId="2698819e-f51f-4938-ae1b-875ffc6b70b6" providerId="ADAL" clId="{9A7E3180-9C56-452E-874E-DF13A25BD65E}" dt="2024-07-02T16:08:22.573" v="350" actId="478"/>
          <ac:spMkLst>
            <pc:docMk/>
            <pc:sldMk cId="1496641415" sldId="2147474937"/>
            <ac:spMk id="7" creationId="{02D268C4-EBA3-C4C2-803A-1BA7A89826FE}"/>
          </ac:spMkLst>
        </pc:spChg>
        <pc:spChg chg="del">
          <ac:chgData name="Dimitri Militschenko" userId="2698819e-f51f-4938-ae1b-875ffc6b70b6" providerId="ADAL" clId="{9A7E3180-9C56-452E-874E-DF13A25BD65E}" dt="2024-07-02T16:08:22.573" v="350" actId="478"/>
          <ac:spMkLst>
            <pc:docMk/>
            <pc:sldMk cId="1496641415" sldId="2147474937"/>
            <ac:spMk id="8" creationId="{9F3D3D85-F99C-4924-9F03-F9A6DB5BF6D3}"/>
          </ac:spMkLst>
        </pc:spChg>
        <pc:spChg chg="add mod">
          <ac:chgData name="Dimitri Militschenko" userId="2698819e-f51f-4938-ae1b-875ffc6b70b6" providerId="ADAL" clId="{9A7E3180-9C56-452E-874E-DF13A25BD65E}" dt="2024-07-02T16:08:34.477" v="403" actId="1037"/>
          <ac:spMkLst>
            <pc:docMk/>
            <pc:sldMk cId="1496641415" sldId="2147474937"/>
            <ac:spMk id="9" creationId="{B9858AEF-6BDB-E148-95FF-526A4C440706}"/>
          </ac:spMkLst>
        </pc:spChg>
        <pc:spChg chg="add mod">
          <ac:chgData name="Dimitri Militschenko" userId="2698819e-f51f-4938-ae1b-875ffc6b70b6" providerId="ADAL" clId="{9A7E3180-9C56-452E-874E-DF13A25BD65E}" dt="2024-07-02T16:08:34.477" v="403" actId="1037"/>
          <ac:spMkLst>
            <pc:docMk/>
            <pc:sldMk cId="1496641415" sldId="2147474937"/>
            <ac:spMk id="10" creationId="{213A46D6-C38B-F573-58E4-AC43CBEC7D17}"/>
          </ac:spMkLst>
        </pc:spChg>
        <pc:spChg chg="del">
          <ac:chgData name="Dimitri Militschenko" userId="2698819e-f51f-4938-ae1b-875ffc6b70b6" providerId="ADAL" clId="{9A7E3180-9C56-452E-874E-DF13A25BD65E}" dt="2024-07-02T16:08:22.573" v="350" actId="478"/>
          <ac:spMkLst>
            <pc:docMk/>
            <pc:sldMk cId="1496641415" sldId="2147474937"/>
            <ac:spMk id="11" creationId="{B8906F85-7AA7-487C-A5AD-6406A0AD16C9}"/>
          </ac:spMkLst>
        </pc:spChg>
        <pc:spChg chg="add mod">
          <ac:chgData name="Dimitri Militschenko" userId="2698819e-f51f-4938-ae1b-875ffc6b70b6" providerId="ADAL" clId="{9A7E3180-9C56-452E-874E-DF13A25BD65E}" dt="2024-07-02T16:08:34.477" v="403" actId="1037"/>
          <ac:spMkLst>
            <pc:docMk/>
            <pc:sldMk cId="1496641415" sldId="2147474937"/>
            <ac:spMk id="12" creationId="{ACA4E5A8-0E42-04E4-9815-285E66BC39EF}"/>
          </ac:spMkLst>
        </pc:spChg>
        <pc:spChg chg="add mod">
          <ac:chgData name="Dimitri Militschenko" userId="2698819e-f51f-4938-ae1b-875ffc6b70b6" providerId="ADAL" clId="{9A7E3180-9C56-452E-874E-DF13A25BD65E}" dt="2024-07-02T16:08:34.477" v="403" actId="1037"/>
          <ac:spMkLst>
            <pc:docMk/>
            <pc:sldMk cId="1496641415" sldId="2147474937"/>
            <ac:spMk id="13" creationId="{C1A497C0-3591-2320-CF85-C8183310470C}"/>
          </ac:spMkLst>
        </pc:spChg>
        <pc:spChg chg="add mod">
          <ac:chgData name="Dimitri Militschenko" userId="2698819e-f51f-4938-ae1b-875ffc6b70b6" providerId="ADAL" clId="{9A7E3180-9C56-452E-874E-DF13A25BD65E}" dt="2024-07-02T16:08:34.477" v="403" actId="1037"/>
          <ac:spMkLst>
            <pc:docMk/>
            <pc:sldMk cId="1496641415" sldId="2147474937"/>
            <ac:spMk id="14" creationId="{57FD952A-1B62-C0D8-5D12-C47895C47C0E}"/>
          </ac:spMkLst>
        </pc:spChg>
        <pc:spChg chg="add mod">
          <ac:chgData name="Dimitri Militschenko" userId="2698819e-f51f-4938-ae1b-875ffc6b70b6" providerId="ADAL" clId="{9A7E3180-9C56-452E-874E-DF13A25BD65E}" dt="2024-07-02T16:08:34.477" v="403" actId="1037"/>
          <ac:spMkLst>
            <pc:docMk/>
            <pc:sldMk cId="1496641415" sldId="2147474937"/>
            <ac:spMk id="15" creationId="{22435F23-67A8-7121-72B0-9B71617A64EA}"/>
          </ac:spMkLst>
        </pc:spChg>
        <pc:spChg chg="add mod">
          <ac:chgData name="Dimitri Militschenko" userId="2698819e-f51f-4938-ae1b-875ffc6b70b6" providerId="ADAL" clId="{9A7E3180-9C56-452E-874E-DF13A25BD65E}" dt="2024-07-02T16:08:34.477" v="403" actId="1037"/>
          <ac:spMkLst>
            <pc:docMk/>
            <pc:sldMk cId="1496641415" sldId="2147474937"/>
            <ac:spMk id="16" creationId="{F399F8A6-A688-683C-B739-E0A83F6208DF}"/>
          </ac:spMkLst>
        </pc:spChg>
        <pc:spChg chg="add mod">
          <ac:chgData name="Dimitri Militschenko" userId="2698819e-f51f-4938-ae1b-875ffc6b70b6" providerId="ADAL" clId="{9A7E3180-9C56-452E-874E-DF13A25BD65E}" dt="2024-07-02T16:08:34.477" v="403" actId="1037"/>
          <ac:spMkLst>
            <pc:docMk/>
            <pc:sldMk cId="1496641415" sldId="2147474937"/>
            <ac:spMk id="17" creationId="{55B5497B-4489-D027-4712-93A42EA46419}"/>
          </ac:spMkLst>
        </pc:spChg>
        <pc:spChg chg="add mod">
          <ac:chgData name="Dimitri Militschenko" userId="2698819e-f51f-4938-ae1b-875ffc6b70b6" providerId="ADAL" clId="{9A7E3180-9C56-452E-874E-DF13A25BD65E}" dt="2024-07-02T16:08:34.477" v="403" actId="1037"/>
          <ac:spMkLst>
            <pc:docMk/>
            <pc:sldMk cId="1496641415" sldId="2147474937"/>
            <ac:spMk id="19" creationId="{ECB3F490-7599-12B4-BAC6-77AB1EBEE8B6}"/>
          </ac:spMkLst>
        </pc:spChg>
        <pc:spChg chg="add mod">
          <ac:chgData name="Dimitri Militschenko" userId="2698819e-f51f-4938-ae1b-875ffc6b70b6" providerId="ADAL" clId="{9A7E3180-9C56-452E-874E-DF13A25BD65E}" dt="2024-07-02T16:08:34.477" v="403" actId="1037"/>
          <ac:spMkLst>
            <pc:docMk/>
            <pc:sldMk cId="1496641415" sldId="2147474937"/>
            <ac:spMk id="20" creationId="{396E472E-BF71-5C38-E7B6-B3B3D82C48FC}"/>
          </ac:spMkLst>
        </pc:spChg>
        <pc:spChg chg="add mod">
          <ac:chgData name="Dimitri Militschenko" userId="2698819e-f51f-4938-ae1b-875ffc6b70b6" providerId="ADAL" clId="{9A7E3180-9C56-452E-874E-DF13A25BD65E}" dt="2024-07-02T16:08:34.477" v="403" actId="1037"/>
          <ac:spMkLst>
            <pc:docMk/>
            <pc:sldMk cId="1496641415" sldId="2147474937"/>
            <ac:spMk id="21" creationId="{82FAF200-1F91-32CE-82FC-923F4F56B024}"/>
          </ac:spMkLst>
        </pc:spChg>
        <pc:spChg chg="add mod">
          <ac:chgData name="Dimitri Militschenko" userId="2698819e-f51f-4938-ae1b-875ffc6b70b6" providerId="ADAL" clId="{9A7E3180-9C56-452E-874E-DF13A25BD65E}" dt="2024-07-02T16:08:34.477" v="403" actId="1037"/>
          <ac:spMkLst>
            <pc:docMk/>
            <pc:sldMk cId="1496641415" sldId="2147474937"/>
            <ac:spMk id="22" creationId="{EE79DF65-EC82-B133-EC01-B9FCD37F880E}"/>
          </ac:spMkLst>
        </pc:spChg>
        <pc:spChg chg="add mod">
          <ac:chgData name="Dimitri Militschenko" userId="2698819e-f51f-4938-ae1b-875ffc6b70b6" providerId="ADAL" clId="{9A7E3180-9C56-452E-874E-DF13A25BD65E}" dt="2024-07-02T16:08:34.477" v="403" actId="1037"/>
          <ac:spMkLst>
            <pc:docMk/>
            <pc:sldMk cId="1496641415" sldId="2147474937"/>
            <ac:spMk id="23" creationId="{6234F40A-DDC6-482F-8B0D-39EBDBD4BE95}"/>
          </ac:spMkLst>
        </pc:spChg>
        <pc:spChg chg="add mod">
          <ac:chgData name="Dimitri Militschenko" userId="2698819e-f51f-4938-ae1b-875ffc6b70b6" providerId="ADAL" clId="{9A7E3180-9C56-452E-874E-DF13A25BD65E}" dt="2024-07-02T16:08:34.477" v="403" actId="1037"/>
          <ac:spMkLst>
            <pc:docMk/>
            <pc:sldMk cId="1496641415" sldId="2147474937"/>
            <ac:spMk id="24" creationId="{961490F3-EB1D-9628-BEA6-122878B6EB3B}"/>
          </ac:spMkLst>
        </pc:spChg>
        <pc:picChg chg="del">
          <ac:chgData name="Dimitri Militschenko" userId="2698819e-f51f-4938-ae1b-875ffc6b70b6" providerId="ADAL" clId="{9A7E3180-9C56-452E-874E-DF13A25BD65E}" dt="2024-07-02T16:08:22.573" v="350" actId="478"/>
          <ac:picMkLst>
            <pc:docMk/>
            <pc:sldMk cId="1496641415" sldId="2147474937"/>
            <ac:picMk id="4" creationId="{E5DB18C1-FF95-4085-A97E-89EC374C183C}"/>
          </ac:picMkLst>
        </pc:picChg>
        <pc:picChg chg="add mod">
          <ac:chgData name="Dimitri Militschenko" userId="2698819e-f51f-4938-ae1b-875ffc6b70b6" providerId="ADAL" clId="{9A7E3180-9C56-452E-874E-DF13A25BD65E}" dt="2024-07-02T16:08:34.477" v="403" actId="1037"/>
          <ac:picMkLst>
            <pc:docMk/>
            <pc:sldMk cId="1496641415" sldId="2147474937"/>
            <ac:picMk id="18" creationId="{964848AD-7B4D-C6E7-F2B0-67D6A7E56A07}"/>
          </ac:picMkLst>
        </pc:picChg>
        <pc:picChg chg="del">
          <ac:chgData name="Dimitri Militschenko" userId="2698819e-f51f-4938-ae1b-875ffc6b70b6" providerId="ADAL" clId="{9A7E3180-9C56-452E-874E-DF13A25BD65E}" dt="2024-07-02T16:08:22.573" v="350" actId="478"/>
          <ac:picMkLst>
            <pc:docMk/>
            <pc:sldMk cId="1496641415" sldId="2147474937"/>
            <ac:picMk id="3082" creationId="{19338693-CC4F-4B5F-8F78-36B1E5AEB5F9}"/>
          </ac:picMkLst>
        </pc:picChg>
      </pc:sldChg>
      <pc:sldChg chg="addSp delSp modSp add del mod modShow">
        <pc:chgData name="Dimitri Militschenko" userId="2698819e-f51f-4938-ae1b-875ffc6b70b6" providerId="ADAL" clId="{9A7E3180-9C56-452E-874E-DF13A25BD65E}" dt="2024-07-02T16:29:50.980" v="975" actId="47"/>
        <pc:sldMkLst>
          <pc:docMk/>
          <pc:sldMk cId="3267742423" sldId="2147474938"/>
        </pc:sldMkLst>
        <pc:spChg chg="del">
          <ac:chgData name="Dimitri Militschenko" userId="2698819e-f51f-4938-ae1b-875ffc6b70b6" providerId="ADAL" clId="{9A7E3180-9C56-452E-874E-DF13A25BD65E}" dt="2024-07-02T16:10:19.081" v="441" actId="478"/>
          <ac:spMkLst>
            <pc:docMk/>
            <pc:sldMk cId="3267742423" sldId="2147474938"/>
            <ac:spMk id="2" creationId="{3B2CFA18-6B0B-6616-09B7-80138DE2161A}"/>
          </ac:spMkLst>
        </pc:spChg>
        <pc:spChg chg="mod">
          <ac:chgData name="Dimitri Militschenko" userId="2698819e-f51f-4938-ae1b-875ffc6b70b6" providerId="ADAL" clId="{9A7E3180-9C56-452E-874E-DF13A25BD65E}" dt="2024-07-02T16:10:07.960" v="440"/>
          <ac:spMkLst>
            <pc:docMk/>
            <pc:sldMk cId="3267742423" sldId="2147474938"/>
            <ac:spMk id="4" creationId="{DE95C3E3-719D-4345-B914-4108A41722B1}"/>
          </ac:spMkLst>
        </pc:spChg>
        <pc:spChg chg="add mod">
          <ac:chgData name="Dimitri Militschenko" userId="2698819e-f51f-4938-ae1b-875ffc6b70b6" providerId="ADAL" clId="{9A7E3180-9C56-452E-874E-DF13A25BD65E}" dt="2024-07-02T16:10:27.467" v="502" actId="1038"/>
          <ac:spMkLst>
            <pc:docMk/>
            <pc:sldMk cId="3267742423" sldId="2147474938"/>
            <ac:spMk id="6" creationId="{112A5F33-2BEC-94C6-F04F-138ED5E02FDD}"/>
          </ac:spMkLst>
        </pc:spChg>
        <pc:spChg chg="add mod">
          <ac:chgData name="Dimitri Militschenko" userId="2698819e-f51f-4938-ae1b-875ffc6b70b6" providerId="ADAL" clId="{9A7E3180-9C56-452E-874E-DF13A25BD65E}" dt="2024-07-02T16:10:27.467" v="502" actId="1038"/>
          <ac:spMkLst>
            <pc:docMk/>
            <pc:sldMk cId="3267742423" sldId="2147474938"/>
            <ac:spMk id="7" creationId="{3B27380B-DDA3-73ED-E971-A74BCC0DB993}"/>
          </ac:spMkLst>
        </pc:spChg>
        <pc:spChg chg="del">
          <ac:chgData name="Dimitri Militschenko" userId="2698819e-f51f-4938-ae1b-875ffc6b70b6" providerId="ADAL" clId="{9A7E3180-9C56-452E-874E-DF13A25BD65E}" dt="2024-07-02T16:10:19.081" v="441" actId="478"/>
          <ac:spMkLst>
            <pc:docMk/>
            <pc:sldMk cId="3267742423" sldId="2147474938"/>
            <ac:spMk id="8" creationId="{B8C227EA-D214-4E6D-BEDF-22834850F220}"/>
          </ac:spMkLst>
        </pc:spChg>
        <pc:spChg chg="del">
          <ac:chgData name="Dimitri Militschenko" userId="2698819e-f51f-4938-ae1b-875ffc6b70b6" providerId="ADAL" clId="{9A7E3180-9C56-452E-874E-DF13A25BD65E}" dt="2024-07-02T16:10:19.081" v="441" actId="478"/>
          <ac:spMkLst>
            <pc:docMk/>
            <pc:sldMk cId="3267742423" sldId="2147474938"/>
            <ac:spMk id="9" creationId="{D68683CA-D747-4F72-855C-D100B6960514}"/>
          </ac:spMkLst>
        </pc:spChg>
        <pc:spChg chg="add mod">
          <ac:chgData name="Dimitri Militschenko" userId="2698819e-f51f-4938-ae1b-875ffc6b70b6" providerId="ADAL" clId="{9A7E3180-9C56-452E-874E-DF13A25BD65E}" dt="2024-07-02T16:10:36.715" v="507" actId="1037"/>
          <ac:spMkLst>
            <pc:docMk/>
            <pc:sldMk cId="3267742423" sldId="2147474938"/>
            <ac:spMk id="12" creationId="{AA757DF7-8637-7400-FA59-8393D455FB44}"/>
          </ac:spMkLst>
        </pc:spChg>
        <pc:spChg chg="add mod">
          <ac:chgData name="Dimitri Militschenko" userId="2698819e-f51f-4938-ae1b-875ffc6b70b6" providerId="ADAL" clId="{9A7E3180-9C56-452E-874E-DF13A25BD65E}" dt="2024-07-02T16:10:27.467" v="502" actId="1038"/>
          <ac:spMkLst>
            <pc:docMk/>
            <pc:sldMk cId="3267742423" sldId="2147474938"/>
            <ac:spMk id="13" creationId="{57C6CC44-82DE-CFA1-887F-E0743C374B23}"/>
          </ac:spMkLst>
        </pc:spChg>
        <pc:spChg chg="del">
          <ac:chgData name="Dimitri Militschenko" userId="2698819e-f51f-4938-ae1b-875ffc6b70b6" providerId="ADAL" clId="{9A7E3180-9C56-452E-874E-DF13A25BD65E}" dt="2024-07-02T16:10:19.081" v="441" actId="478"/>
          <ac:spMkLst>
            <pc:docMk/>
            <pc:sldMk cId="3267742423" sldId="2147474938"/>
            <ac:spMk id="22" creationId="{C8212638-18AA-4F5B-9630-5FD28D42FD24}"/>
          </ac:spMkLst>
        </pc:spChg>
        <pc:spChg chg="del">
          <ac:chgData name="Dimitri Militschenko" userId="2698819e-f51f-4938-ae1b-875ffc6b70b6" providerId="ADAL" clId="{9A7E3180-9C56-452E-874E-DF13A25BD65E}" dt="2024-07-02T16:10:19.081" v="441" actId="478"/>
          <ac:spMkLst>
            <pc:docMk/>
            <pc:sldMk cId="3267742423" sldId="2147474938"/>
            <ac:spMk id="23" creationId="{3105CBF0-4B1A-428F-BFAE-F0B87A93CAEF}"/>
          </ac:spMkLst>
        </pc:spChg>
        <pc:spChg chg="del">
          <ac:chgData name="Dimitri Militschenko" userId="2698819e-f51f-4938-ae1b-875ffc6b70b6" providerId="ADAL" clId="{9A7E3180-9C56-452E-874E-DF13A25BD65E}" dt="2024-07-02T16:10:19.081" v="441" actId="478"/>
          <ac:spMkLst>
            <pc:docMk/>
            <pc:sldMk cId="3267742423" sldId="2147474938"/>
            <ac:spMk id="24" creationId="{7209371D-5068-42F2-96C9-585E87003664}"/>
          </ac:spMkLst>
        </pc:spChg>
        <pc:spChg chg="del">
          <ac:chgData name="Dimitri Militschenko" userId="2698819e-f51f-4938-ae1b-875ffc6b70b6" providerId="ADAL" clId="{9A7E3180-9C56-452E-874E-DF13A25BD65E}" dt="2024-07-02T16:10:19.081" v="441" actId="478"/>
          <ac:spMkLst>
            <pc:docMk/>
            <pc:sldMk cId="3267742423" sldId="2147474938"/>
            <ac:spMk id="26" creationId="{9DFB2138-DADA-4130-853E-27DCC0204AD1}"/>
          </ac:spMkLst>
        </pc:spChg>
        <pc:spChg chg="del">
          <ac:chgData name="Dimitri Militschenko" userId="2698819e-f51f-4938-ae1b-875ffc6b70b6" providerId="ADAL" clId="{9A7E3180-9C56-452E-874E-DF13A25BD65E}" dt="2024-07-02T16:10:19.081" v="441" actId="478"/>
          <ac:spMkLst>
            <pc:docMk/>
            <pc:sldMk cId="3267742423" sldId="2147474938"/>
            <ac:spMk id="30" creationId="{03B582E9-FDE3-4FDD-849B-1EA667694DBC}"/>
          </ac:spMkLst>
        </pc:spChg>
        <pc:spChg chg="del">
          <ac:chgData name="Dimitri Militschenko" userId="2698819e-f51f-4938-ae1b-875ffc6b70b6" providerId="ADAL" clId="{9A7E3180-9C56-452E-874E-DF13A25BD65E}" dt="2024-07-02T16:10:19.081" v="441" actId="478"/>
          <ac:spMkLst>
            <pc:docMk/>
            <pc:sldMk cId="3267742423" sldId="2147474938"/>
            <ac:spMk id="32" creationId="{9E25B8AD-F507-4E31-9DF6-2F7A478F068D}"/>
          </ac:spMkLst>
        </pc:spChg>
        <pc:spChg chg="mod">
          <ac:chgData name="Dimitri Militschenko" userId="2698819e-f51f-4938-ae1b-875ffc6b70b6" providerId="ADAL" clId="{9A7E3180-9C56-452E-874E-DF13A25BD65E}" dt="2024-07-02T16:09:57.415" v="437"/>
          <ac:spMkLst>
            <pc:docMk/>
            <pc:sldMk cId="3267742423" sldId="2147474938"/>
            <ac:spMk id="37" creationId="{C5017C0B-3E75-4CB7-B00C-A5A576FD91B3}"/>
          </ac:spMkLst>
        </pc:spChg>
        <pc:spChg chg="del">
          <ac:chgData name="Dimitri Militschenko" userId="2698819e-f51f-4938-ae1b-875ffc6b70b6" providerId="ADAL" clId="{9A7E3180-9C56-452E-874E-DF13A25BD65E}" dt="2024-07-02T16:10:19.081" v="441" actId="478"/>
          <ac:spMkLst>
            <pc:docMk/>
            <pc:sldMk cId="3267742423" sldId="2147474938"/>
            <ac:spMk id="38" creationId="{B7B4D921-2183-4BED-9657-452AA0DFAA60}"/>
          </ac:spMkLst>
        </pc:spChg>
        <pc:spChg chg="del">
          <ac:chgData name="Dimitri Militschenko" userId="2698819e-f51f-4938-ae1b-875ffc6b70b6" providerId="ADAL" clId="{9A7E3180-9C56-452E-874E-DF13A25BD65E}" dt="2024-07-02T16:10:19.081" v="441" actId="478"/>
          <ac:spMkLst>
            <pc:docMk/>
            <pc:sldMk cId="3267742423" sldId="2147474938"/>
            <ac:spMk id="42" creationId="{D3089898-E62F-4125-A023-B9805F69DA5A}"/>
          </ac:spMkLst>
        </pc:spChg>
        <pc:spChg chg="del">
          <ac:chgData name="Dimitri Militschenko" userId="2698819e-f51f-4938-ae1b-875ffc6b70b6" providerId="ADAL" clId="{9A7E3180-9C56-452E-874E-DF13A25BD65E}" dt="2024-07-02T16:10:19.081" v="441" actId="478"/>
          <ac:spMkLst>
            <pc:docMk/>
            <pc:sldMk cId="3267742423" sldId="2147474938"/>
            <ac:spMk id="43" creationId="{9292B92A-4C0F-44A0-B5DE-31FAF79B6EE5}"/>
          </ac:spMkLst>
        </pc:spChg>
        <pc:spChg chg="del">
          <ac:chgData name="Dimitri Militschenko" userId="2698819e-f51f-4938-ae1b-875ffc6b70b6" providerId="ADAL" clId="{9A7E3180-9C56-452E-874E-DF13A25BD65E}" dt="2024-07-02T16:10:19.081" v="441" actId="478"/>
          <ac:spMkLst>
            <pc:docMk/>
            <pc:sldMk cId="3267742423" sldId="2147474938"/>
            <ac:spMk id="46" creationId="{2C7E8629-CD56-4427-A980-AAF2CF67F16E}"/>
          </ac:spMkLst>
        </pc:spChg>
        <pc:spChg chg="del">
          <ac:chgData name="Dimitri Militschenko" userId="2698819e-f51f-4938-ae1b-875ffc6b70b6" providerId="ADAL" clId="{9A7E3180-9C56-452E-874E-DF13A25BD65E}" dt="2024-07-02T16:10:19.081" v="441" actId="478"/>
          <ac:spMkLst>
            <pc:docMk/>
            <pc:sldMk cId="3267742423" sldId="2147474938"/>
            <ac:spMk id="47" creationId="{BA787FBC-8B4A-4B6D-8B47-8C8B40F989F0}"/>
          </ac:spMkLst>
        </pc:spChg>
        <pc:picChg chg="del">
          <ac:chgData name="Dimitri Militschenko" userId="2698819e-f51f-4938-ae1b-875ffc6b70b6" providerId="ADAL" clId="{9A7E3180-9C56-452E-874E-DF13A25BD65E}" dt="2024-07-02T16:10:19.081" v="441" actId="478"/>
          <ac:picMkLst>
            <pc:docMk/>
            <pc:sldMk cId="3267742423" sldId="2147474938"/>
            <ac:picMk id="3" creationId="{0FF23189-20BE-CD98-D06A-163C2260BCD0}"/>
          </ac:picMkLst>
        </pc:picChg>
        <pc:picChg chg="add mod">
          <ac:chgData name="Dimitri Militschenko" userId="2698819e-f51f-4938-ae1b-875ffc6b70b6" providerId="ADAL" clId="{9A7E3180-9C56-452E-874E-DF13A25BD65E}" dt="2024-07-02T16:10:27.467" v="502" actId="1038"/>
          <ac:picMkLst>
            <pc:docMk/>
            <pc:sldMk cId="3267742423" sldId="2147474938"/>
            <ac:picMk id="10" creationId="{479416C6-70F6-DED5-F41C-386645AC3E3D}"/>
          </ac:picMkLst>
        </pc:picChg>
        <pc:picChg chg="add mod">
          <ac:chgData name="Dimitri Militschenko" userId="2698819e-f51f-4938-ae1b-875ffc6b70b6" providerId="ADAL" clId="{9A7E3180-9C56-452E-874E-DF13A25BD65E}" dt="2024-07-02T16:10:27.467" v="502" actId="1038"/>
          <ac:picMkLst>
            <pc:docMk/>
            <pc:sldMk cId="3267742423" sldId="2147474938"/>
            <ac:picMk id="11" creationId="{6FD4B596-BA66-A4AA-8587-3AF7E5A8CBEF}"/>
          </ac:picMkLst>
        </pc:picChg>
      </pc:sldChg>
    </pc:docChg>
  </pc:docChgLst>
  <pc:docChgLst>
    <pc:chgData name="Lara Weidemann" userId="d78676d4-96c8-4de9-b65f-ba2c93297340" providerId="ADAL" clId="{B1CD9A4F-B6B2-4C13-A732-75F69A907F21}"/>
    <pc:docChg chg="undo custSel addSld delSld modSld sldOrd">
      <pc:chgData name="Lara Weidemann" userId="d78676d4-96c8-4de9-b65f-ba2c93297340" providerId="ADAL" clId="{B1CD9A4F-B6B2-4C13-A732-75F69A907F21}" dt="2023-03-03T10:56:06.201" v="1137"/>
      <pc:docMkLst>
        <pc:docMk/>
      </pc:docMkLst>
      <pc:sldChg chg="addSp delSp modSp">
        <pc:chgData name="Lara Weidemann" userId="d78676d4-96c8-4de9-b65f-ba2c93297340" providerId="ADAL" clId="{B1CD9A4F-B6B2-4C13-A732-75F69A907F21}" dt="2023-03-03T10:55:29.623" v="1083" actId="2711"/>
        <pc:sldMkLst>
          <pc:docMk/>
          <pc:sldMk cId="1886290154" sldId="260"/>
        </pc:sldMkLst>
        <pc:spChg chg="add del mod">
          <ac:chgData name="Lara Weidemann" userId="d78676d4-96c8-4de9-b65f-ba2c93297340" providerId="ADAL" clId="{B1CD9A4F-B6B2-4C13-A732-75F69A907F21}" dt="2023-03-03T10:35:44.518" v="926"/>
          <ac:spMkLst>
            <pc:docMk/>
            <pc:sldMk cId="1886290154" sldId="260"/>
            <ac:spMk id="2" creationId="{3599555C-FFB6-4176-8975-01CC49A86514}"/>
          </ac:spMkLst>
        </pc:spChg>
        <pc:spChg chg="mod">
          <ac:chgData name="Lara Weidemann" userId="d78676d4-96c8-4de9-b65f-ba2c93297340" providerId="ADAL" clId="{B1CD9A4F-B6B2-4C13-A732-75F69A907F21}" dt="2023-03-03T10:54:00.668" v="1036" actId="948"/>
          <ac:spMkLst>
            <pc:docMk/>
            <pc:sldMk cId="1886290154" sldId="260"/>
            <ac:spMk id="3" creationId="{EC3EC117-F92D-405F-9D8E-BF7C57019C1D}"/>
          </ac:spMkLst>
        </pc:spChg>
        <pc:spChg chg="mod">
          <ac:chgData name="Lara Weidemann" userId="d78676d4-96c8-4de9-b65f-ba2c93297340" providerId="ADAL" clId="{B1CD9A4F-B6B2-4C13-A732-75F69A907F21}" dt="2023-03-03T10:53:51.535" v="1034" actId="1076"/>
          <ac:spMkLst>
            <pc:docMk/>
            <pc:sldMk cId="1886290154" sldId="260"/>
            <ac:spMk id="4" creationId="{DE95C3E3-719D-4345-B914-4108A41722B1}"/>
          </ac:spMkLst>
        </pc:spChg>
        <pc:spChg chg="add del mod">
          <ac:chgData name="Lara Weidemann" userId="d78676d4-96c8-4de9-b65f-ba2c93297340" providerId="ADAL" clId="{B1CD9A4F-B6B2-4C13-A732-75F69A907F21}" dt="2023-03-03T10:35:45.909" v="981"/>
          <ac:spMkLst>
            <pc:docMk/>
            <pc:sldMk cId="1886290154" sldId="260"/>
            <ac:spMk id="7" creationId="{4716C02B-CC1E-41BD-953B-C6C230DEF149}"/>
          </ac:spMkLst>
        </pc:spChg>
        <pc:spChg chg="add del mod">
          <ac:chgData name="Lara Weidemann" userId="d78676d4-96c8-4de9-b65f-ba2c93297340" providerId="ADAL" clId="{B1CD9A4F-B6B2-4C13-A732-75F69A907F21}" dt="2023-03-03T10:35:47.107" v="1023"/>
          <ac:spMkLst>
            <pc:docMk/>
            <pc:sldMk cId="1886290154" sldId="260"/>
            <ac:spMk id="8" creationId="{16C38E28-7710-40D2-9E11-4BDD89496229}"/>
          </ac:spMkLst>
        </pc:spChg>
        <pc:spChg chg="add del mod">
          <ac:chgData name="Lara Weidemann" userId="d78676d4-96c8-4de9-b65f-ba2c93297340" providerId="ADAL" clId="{B1CD9A4F-B6B2-4C13-A732-75F69A907F21}" dt="2023-03-03T10:54:00.690" v="1074"/>
          <ac:spMkLst>
            <pc:docMk/>
            <pc:sldMk cId="1886290154" sldId="260"/>
            <ac:spMk id="9" creationId="{FA7C12BC-C3B6-4A21-8571-F7A336F3FFCD}"/>
          </ac:spMkLst>
        </pc:spChg>
        <pc:spChg chg="mod">
          <ac:chgData name="Lara Weidemann" userId="d78676d4-96c8-4de9-b65f-ba2c93297340" providerId="ADAL" clId="{B1CD9A4F-B6B2-4C13-A732-75F69A907F21}" dt="2023-03-03T10:54:51.697" v="1078" actId="2711"/>
          <ac:spMkLst>
            <pc:docMk/>
            <pc:sldMk cId="1886290154" sldId="260"/>
            <ac:spMk id="30" creationId="{03B582E9-FDE3-4FDD-849B-1EA667694DBC}"/>
          </ac:spMkLst>
        </pc:spChg>
        <pc:spChg chg="mod">
          <ac:chgData name="Lara Weidemann" userId="d78676d4-96c8-4de9-b65f-ba2c93297340" providerId="ADAL" clId="{B1CD9A4F-B6B2-4C13-A732-75F69A907F21}" dt="2023-03-03T10:55:07.649" v="1079" actId="2711"/>
          <ac:spMkLst>
            <pc:docMk/>
            <pc:sldMk cId="1886290154" sldId="260"/>
            <ac:spMk id="31" creationId="{BD70C336-9CDF-460A-8433-F1DA6C33DC52}"/>
          </ac:spMkLst>
        </pc:spChg>
        <pc:spChg chg="mod">
          <ac:chgData name="Lara Weidemann" userId="d78676d4-96c8-4de9-b65f-ba2c93297340" providerId="ADAL" clId="{B1CD9A4F-B6B2-4C13-A732-75F69A907F21}" dt="2023-03-03T10:55:13.020" v="1080" actId="2711"/>
          <ac:spMkLst>
            <pc:docMk/>
            <pc:sldMk cId="1886290154" sldId="260"/>
            <ac:spMk id="33" creationId="{74E9B2F5-CA70-42FA-B664-A55F699C2FEA}"/>
          </ac:spMkLst>
        </pc:spChg>
        <pc:spChg chg="mod">
          <ac:chgData name="Lara Weidemann" userId="d78676d4-96c8-4de9-b65f-ba2c93297340" providerId="ADAL" clId="{B1CD9A4F-B6B2-4C13-A732-75F69A907F21}" dt="2023-03-03T10:55:29.623" v="1083" actId="2711"/>
          <ac:spMkLst>
            <pc:docMk/>
            <pc:sldMk cId="1886290154" sldId="260"/>
            <ac:spMk id="34" creationId="{3C102EE3-D92D-45B1-A1F3-0C10BC136E4D}"/>
          </ac:spMkLst>
        </pc:spChg>
        <pc:spChg chg="mod">
          <ac:chgData name="Lara Weidemann" userId="d78676d4-96c8-4de9-b65f-ba2c93297340" providerId="ADAL" clId="{B1CD9A4F-B6B2-4C13-A732-75F69A907F21}" dt="2023-03-03T10:55:25.077" v="1082" actId="2711"/>
          <ac:spMkLst>
            <pc:docMk/>
            <pc:sldMk cId="1886290154" sldId="260"/>
            <ac:spMk id="35" creationId="{A0E0DBBF-A8B1-4737-8B7D-6DEDB2524007}"/>
          </ac:spMkLst>
        </pc:spChg>
        <pc:spChg chg="mod">
          <ac:chgData name="Lara Weidemann" userId="d78676d4-96c8-4de9-b65f-ba2c93297340" providerId="ADAL" clId="{B1CD9A4F-B6B2-4C13-A732-75F69A907F21}" dt="2023-03-03T10:55:19.529" v="1081" actId="2711"/>
          <ac:spMkLst>
            <pc:docMk/>
            <pc:sldMk cId="1886290154" sldId="260"/>
            <ac:spMk id="36" creationId="{4805ECAF-49E6-4FB8-A0D6-912B16FE8537}"/>
          </ac:spMkLst>
        </pc:spChg>
        <pc:graphicFrameChg chg="add mod ord">
          <ac:chgData name="Lara Weidemann" userId="d78676d4-96c8-4de9-b65f-ba2c93297340" providerId="ADAL" clId="{B1CD9A4F-B6B2-4C13-A732-75F69A907F21}" dt="2023-03-03T10:54:00.691" v="1076"/>
          <ac:graphicFrameMkLst>
            <pc:docMk/>
            <pc:sldMk cId="1886290154" sldId="260"/>
            <ac:graphicFrameMk id="5" creationId="{C92DCF4D-4BF7-44C5-9D27-02C57DD3D07C}"/>
          </ac:graphicFrameMkLst>
        </pc:graphicFrameChg>
        <pc:picChg chg="mod">
          <ac:chgData name="Lara Weidemann" userId="d78676d4-96c8-4de9-b65f-ba2c93297340" providerId="ADAL" clId="{B1CD9A4F-B6B2-4C13-A732-75F69A907F21}" dt="2023-03-03T10:54:14.426" v="1077" actId="14861"/>
          <ac:picMkLst>
            <pc:docMk/>
            <pc:sldMk cId="1886290154" sldId="260"/>
            <ac:picMk id="6" creationId="{EAC58450-8C7C-46FE-B3A1-2AF946881B83}"/>
          </ac:picMkLst>
        </pc:picChg>
        <pc:cxnChg chg="mod">
          <ac:chgData name="Lara Weidemann" userId="d78676d4-96c8-4de9-b65f-ba2c93297340" providerId="ADAL" clId="{B1CD9A4F-B6B2-4C13-A732-75F69A907F21}" dt="2023-03-03T10:55:19.529" v="1081" actId="2711"/>
          <ac:cxnSpMkLst>
            <pc:docMk/>
            <pc:sldMk cId="1886290154" sldId="260"/>
            <ac:cxnSpMk id="21" creationId="{95B7F1B7-A19B-46F8-886A-371078BEAEEC}"/>
          </ac:cxnSpMkLst>
        </pc:cxnChg>
      </pc:sldChg>
      <pc:sldChg chg="addSp delSp modSp">
        <pc:chgData name="Lara Weidemann" userId="d78676d4-96c8-4de9-b65f-ba2c93297340" providerId="ADAL" clId="{B1CD9A4F-B6B2-4C13-A732-75F69A907F21}" dt="2023-03-03T10:56:06.201" v="1137"/>
        <pc:sldMkLst>
          <pc:docMk/>
          <pc:sldMk cId="2389000172" sldId="266"/>
        </pc:sldMkLst>
        <pc:spChg chg="mod">
          <ac:chgData name="Lara Weidemann" userId="d78676d4-96c8-4de9-b65f-ba2c93297340" providerId="ADAL" clId="{B1CD9A4F-B6B2-4C13-A732-75F69A907F21}" dt="2023-03-03T10:56:06.166" v="1085" actId="948"/>
          <ac:spMkLst>
            <pc:docMk/>
            <pc:sldMk cId="2389000172" sldId="266"/>
            <ac:spMk id="3" creationId="{843EC4F4-91B5-492D-B43E-B1C2126FDC8B}"/>
          </ac:spMkLst>
        </pc:spChg>
        <pc:spChg chg="add del mod">
          <ac:chgData name="Lara Weidemann" userId="d78676d4-96c8-4de9-b65f-ba2c93297340" providerId="ADAL" clId="{B1CD9A4F-B6B2-4C13-A732-75F69A907F21}" dt="2023-03-03T10:56:06.186" v="1123"/>
          <ac:spMkLst>
            <pc:docMk/>
            <pc:sldMk cId="2389000172" sldId="266"/>
            <ac:spMk id="6" creationId="{FA09AA87-C9FA-4228-B644-58CB87A7AFDD}"/>
          </ac:spMkLst>
        </pc:spChg>
        <pc:graphicFrameChg chg="add mod ord">
          <ac:chgData name="Lara Weidemann" userId="d78676d4-96c8-4de9-b65f-ba2c93297340" providerId="ADAL" clId="{B1CD9A4F-B6B2-4C13-A732-75F69A907F21}" dt="2023-03-03T10:56:06.201" v="1137"/>
          <ac:graphicFrameMkLst>
            <pc:docMk/>
            <pc:sldMk cId="2389000172" sldId="266"/>
            <ac:graphicFrameMk id="7" creationId="{86CC1DF6-00DD-4FBE-B9CB-B5D097381298}"/>
          </ac:graphicFrameMkLst>
        </pc:graphicFrameChg>
      </pc:sldChg>
      <pc:sldChg chg="modSp">
        <pc:chgData name="Lara Weidemann" userId="d78676d4-96c8-4de9-b65f-ba2c93297340" providerId="ADAL" clId="{B1CD9A4F-B6B2-4C13-A732-75F69A907F21}" dt="2023-03-03T10:35:18.662" v="886" actId="14100"/>
        <pc:sldMkLst>
          <pc:docMk/>
          <pc:sldMk cId="1325671312" sldId="267"/>
        </pc:sldMkLst>
        <pc:spChg chg="mod">
          <ac:chgData name="Lara Weidemann" userId="d78676d4-96c8-4de9-b65f-ba2c93297340" providerId="ADAL" clId="{B1CD9A4F-B6B2-4C13-A732-75F69A907F21}" dt="2023-03-03T10:33:44.698" v="872" actId="27636"/>
          <ac:spMkLst>
            <pc:docMk/>
            <pc:sldMk cId="1325671312" sldId="267"/>
            <ac:spMk id="2" creationId="{A2604645-BD76-4EBE-9A3F-B03F74B4AE0C}"/>
          </ac:spMkLst>
        </pc:spChg>
        <pc:spChg chg="mod">
          <ac:chgData name="Lara Weidemann" userId="d78676d4-96c8-4de9-b65f-ba2c93297340" providerId="ADAL" clId="{B1CD9A4F-B6B2-4C13-A732-75F69A907F21}" dt="2023-03-03T10:34:28.082" v="878" actId="255"/>
          <ac:spMkLst>
            <pc:docMk/>
            <pc:sldMk cId="1325671312" sldId="267"/>
            <ac:spMk id="3" creationId="{33ADE9D8-D38A-4351-88F3-E78D2F95414B}"/>
          </ac:spMkLst>
        </pc:spChg>
        <pc:spChg chg="mod">
          <ac:chgData name="Lara Weidemann" userId="d78676d4-96c8-4de9-b65f-ba2c93297340" providerId="ADAL" clId="{B1CD9A4F-B6B2-4C13-A732-75F69A907F21}" dt="2023-03-03T10:33:58.852" v="873" actId="2711"/>
          <ac:spMkLst>
            <pc:docMk/>
            <pc:sldMk cId="1325671312" sldId="267"/>
            <ac:spMk id="11" creationId="{B8906F85-7AA7-487C-A5AD-6406A0AD16C9}"/>
          </ac:spMkLst>
        </pc:spChg>
        <pc:spChg chg="mod">
          <ac:chgData name="Lara Weidemann" userId="d78676d4-96c8-4de9-b65f-ba2c93297340" providerId="ADAL" clId="{B1CD9A4F-B6B2-4C13-A732-75F69A907F21}" dt="2023-03-03T10:35:18.662" v="886" actId="14100"/>
          <ac:spMkLst>
            <pc:docMk/>
            <pc:sldMk cId="1325671312" sldId="267"/>
            <ac:spMk id="12" creationId="{A4C187FB-BF2A-42E9-8046-2E55810EA5FE}"/>
          </ac:spMkLst>
        </pc:spChg>
        <pc:picChg chg="mod">
          <ac:chgData name="Lara Weidemann" userId="d78676d4-96c8-4de9-b65f-ba2c93297340" providerId="ADAL" clId="{B1CD9A4F-B6B2-4C13-A732-75F69A907F21}" dt="2023-03-03T10:34:56.402" v="880" actId="1076"/>
          <ac:picMkLst>
            <pc:docMk/>
            <pc:sldMk cId="1325671312" sldId="267"/>
            <ac:picMk id="4" creationId="{E5DB18C1-FF95-4085-A97E-89EC374C183C}"/>
          </ac:picMkLst>
        </pc:picChg>
      </pc:sldChg>
      <pc:sldChg chg="modSp">
        <pc:chgData name="Lara Weidemann" userId="d78676d4-96c8-4de9-b65f-ba2c93297340" providerId="ADAL" clId="{B1CD9A4F-B6B2-4C13-A732-75F69A907F21}" dt="2023-03-03T10:33:16.741" v="863" actId="14100"/>
        <pc:sldMkLst>
          <pc:docMk/>
          <pc:sldMk cId="3857656806" sldId="268"/>
        </pc:sldMkLst>
        <pc:spChg chg="mod">
          <ac:chgData name="Lara Weidemann" userId="d78676d4-96c8-4de9-b65f-ba2c93297340" providerId="ADAL" clId="{B1CD9A4F-B6B2-4C13-A732-75F69A907F21}" dt="2023-03-03T10:31:46.963" v="849" actId="14100"/>
          <ac:spMkLst>
            <pc:docMk/>
            <pc:sldMk cId="3857656806" sldId="268"/>
            <ac:spMk id="4" creationId="{9ABB5680-89F6-44F1-B670-54B4F1CD8F8D}"/>
          </ac:spMkLst>
        </pc:spChg>
        <pc:spChg chg="mod">
          <ac:chgData name="Lara Weidemann" userId="d78676d4-96c8-4de9-b65f-ba2c93297340" providerId="ADAL" clId="{B1CD9A4F-B6B2-4C13-A732-75F69A907F21}" dt="2023-03-03T10:32:26.436" v="854" actId="14100"/>
          <ac:spMkLst>
            <pc:docMk/>
            <pc:sldMk cId="3857656806" sldId="268"/>
            <ac:spMk id="7" creationId="{5415EFE7-4743-4F5B-9F97-0B72861A9A0E}"/>
          </ac:spMkLst>
        </pc:spChg>
        <pc:picChg chg="mod">
          <ac:chgData name="Lara Weidemann" userId="d78676d4-96c8-4de9-b65f-ba2c93297340" providerId="ADAL" clId="{B1CD9A4F-B6B2-4C13-A732-75F69A907F21}" dt="2023-03-03T10:33:16.741" v="863" actId="14100"/>
          <ac:picMkLst>
            <pc:docMk/>
            <pc:sldMk cId="3857656806" sldId="268"/>
            <ac:picMk id="5" creationId="{F7CDB726-8FD1-45A1-BC5E-5AECFDDD5C3D}"/>
          </ac:picMkLst>
        </pc:picChg>
      </pc:sldChg>
    </pc:docChg>
  </pc:docChgLst>
  <pc:docChgLst>
    <pc:chgData name="Dimitri Militschenko" userId="2698819e-f51f-4938-ae1b-875ffc6b70b6" providerId="ADAL" clId="{CE5F84DC-FB48-484E-960E-D50E0E4FED98}"/>
    <pc:docChg chg="undo redo custSel addSld delSld modSld">
      <pc:chgData name="Dimitri Militschenko" userId="2698819e-f51f-4938-ae1b-875ffc6b70b6" providerId="ADAL" clId="{CE5F84DC-FB48-484E-960E-D50E0E4FED98}" dt="2023-03-07T11:25:27.269" v="5009" actId="1076"/>
      <pc:docMkLst>
        <pc:docMk/>
      </pc:docMkLst>
      <pc:sldChg chg="addSp delSp modSp">
        <pc:chgData name="Dimitri Militschenko" userId="2698819e-f51f-4938-ae1b-875ffc6b70b6" providerId="ADAL" clId="{CE5F84DC-FB48-484E-960E-D50E0E4FED98}" dt="2023-03-07T11:19:17.108" v="4725" actId="478"/>
        <pc:sldMkLst>
          <pc:docMk/>
          <pc:sldMk cId="1886290154" sldId="260"/>
        </pc:sldMkLst>
        <pc:spChg chg="mod">
          <ac:chgData name="Dimitri Militschenko" userId="2698819e-f51f-4938-ae1b-875ffc6b70b6" providerId="ADAL" clId="{CE5F84DC-FB48-484E-960E-D50E0E4FED98}" dt="2023-03-07T11:02:32.720" v="1122" actId="20577"/>
          <ac:spMkLst>
            <pc:docMk/>
            <pc:sldMk cId="1886290154" sldId="260"/>
            <ac:spMk id="4" creationId="{DE95C3E3-719D-4345-B914-4108A41722B1}"/>
          </ac:spMkLst>
        </pc:spChg>
        <pc:spChg chg="add mod">
          <ac:chgData name="Dimitri Militschenko" userId="2698819e-f51f-4938-ae1b-875ffc6b70b6" providerId="ADAL" clId="{CE5F84DC-FB48-484E-960E-D50E0E4FED98}" dt="2023-03-07T10:56:47.850" v="1021" actId="1076"/>
          <ac:spMkLst>
            <pc:docMk/>
            <pc:sldMk cId="1886290154" sldId="260"/>
            <ac:spMk id="8" creationId="{B8C227EA-D214-4E6D-BEDF-22834850F220}"/>
          </ac:spMkLst>
        </pc:spChg>
        <pc:spChg chg="add mod">
          <ac:chgData name="Dimitri Militschenko" userId="2698819e-f51f-4938-ae1b-875ffc6b70b6" providerId="ADAL" clId="{CE5F84DC-FB48-484E-960E-D50E0E4FED98}" dt="2023-03-07T10:56:47.850" v="1021" actId="1076"/>
          <ac:spMkLst>
            <pc:docMk/>
            <pc:sldMk cId="1886290154" sldId="260"/>
            <ac:spMk id="22" creationId="{C8212638-18AA-4F5B-9630-5FD28D42FD24}"/>
          </ac:spMkLst>
        </pc:spChg>
        <pc:spChg chg="add mod">
          <ac:chgData name="Dimitri Militschenko" userId="2698819e-f51f-4938-ae1b-875ffc6b70b6" providerId="ADAL" clId="{CE5F84DC-FB48-484E-960E-D50E0E4FED98}" dt="2023-03-07T10:56:47.850" v="1021" actId="1076"/>
          <ac:spMkLst>
            <pc:docMk/>
            <pc:sldMk cId="1886290154" sldId="260"/>
            <ac:spMk id="23" creationId="{3105CBF0-4B1A-428F-BFAE-F0B87A93CAEF}"/>
          </ac:spMkLst>
        </pc:spChg>
        <pc:spChg chg="add mod">
          <ac:chgData name="Dimitri Militschenko" userId="2698819e-f51f-4938-ae1b-875ffc6b70b6" providerId="ADAL" clId="{CE5F84DC-FB48-484E-960E-D50E0E4FED98}" dt="2023-03-07T10:56:47.850" v="1021" actId="1076"/>
          <ac:spMkLst>
            <pc:docMk/>
            <pc:sldMk cId="1886290154" sldId="260"/>
            <ac:spMk id="24" creationId="{7209371D-5068-42F2-96C9-585E87003664}"/>
          </ac:spMkLst>
        </pc:spChg>
        <pc:spChg chg="add mod">
          <ac:chgData name="Dimitri Militschenko" userId="2698819e-f51f-4938-ae1b-875ffc6b70b6" providerId="ADAL" clId="{CE5F84DC-FB48-484E-960E-D50E0E4FED98}" dt="2023-03-07T11:04:21.106" v="1181" actId="113"/>
          <ac:spMkLst>
            <pc:docMk/>
            <pc:sldMk cId="1886290154" sldId="260"/>
            <ac:spMk id="26" creationId="{9DFB2138-DADA-4130-853E-27DCC0204AD1}"/>
          </ac:spMkLst>
        </pc:spChg>
        <pc:spChg chg="add mod">
          <ac:chgData name="Dimitri Militschenko" userId="2698819e-f51f-4938-ae1b-875ffc6b70b6" providerId="ADAL" clId="{CE5F84DC-FB48-484E-960E-D50E0E4FED98}" dt="2023-03-07T10:56:47.850" v="1021" actId="1076"/>
          <ac:spMkLst>
            <pc:docMk/>
            <pc:sldMk cId="1886290154" sldId="260"/>
            <ac:spMk id="27" creationId="{4A7E5DF6-43C4-4B1E-9B74-85D0069B6441}"/>
          </ac:spMkLst>
        </pc:spChg>
        <pc:spChg chg="add mod">
          <ac:chgData name="Dimitri Militschenko" userId="2698819e-f51f-4938-ae1b-875ffc6b70b6" providerId="ADAL" clId="{CE5F84DC-FB48-484E-960E-D50E0E4FED98}" dt="2023-03-07T10:50:45.812" v="899" actId="571"/>
          <ac:spMkLst>
            <pc:docMk/>
            <pc:sldMk cId="1886290154" sldId="260"/>
            <ac:spMk id="28" creationId="{2540F884-9C7E-4BFC-8497-CF3556B42E41}"/>
          </ac:spMkLst>
        </pc:spChg>
        <pc:spChg chg="add del">
          <ac:chgData name="Dimitri Militschenko" userId="2698819e-f51f-4938-ae1b-875ffc6b70b6" providerId="ADAL" clId="{CE5F84DC-FB48-484E-960E-D50E0E4FED98}" dt="2023-03-07T10:50:44.336" v="898"/>
          <ac:spMkLst>
            <pc:docMk/>
            <pc:sldMk cId="1886290154" sldId="260"/>
            <ac:spMk id="29" creationId="{0579D62F-81E8-4321-9418-AE505B2AACCF}"/>
          </ac:spMkLst>
        </pc:spChg>
        <pc:spChg chg="mod">
          <ac:chgData name="Dimitri Militschenko" userId="2698819e-f51f-4938-ae1b-875ffc6b70b6" providerId="ADAL" clId="{CE5F84DC-FB48-484E-960E-D50E0E4FED98}" dt="2023-03-07T11:04:31.913" v="1182" actId="113"/>
          <ac:spMkLst>
            <pc:docMk/>
            <pc:sldMk cId="1886290154" sldId="260"/>
            <ac:spMk id="30" creationId="{03B582E9-FDE3-4FDD-849B-1EA667694DBC}"/>
          </ac:spMkLst>
        </pc:spChg>
        <pc:spChg chg="del mod">
          <ac:chgData name="Dimitri Militschenko" userId="2698819e-f51f-4938-ae1b-875ffc6b70b6" providerId="ADAL" clId="{CE5F84DC-FB48-484E-960E-D50E0E4FED98}" dt="2023-03-07T10:56:06.689" v="967" actId="478"/>
          <ac:spMkLst>
            <pc:docMk/>
            <pc:sldMk cId="1886290154" sldId="260"/>
            <ac:spMk id="31" creationId="{BD70C336-9CDF-460A-8433-F1DA6C33DC52}"/>
          </ac:spMkLst>
        </pc:spChg>
        <pc:spChg chg="add mod">
          <ac:chgData name="Dimitri Militschenko" userId="2698819e-f51f-4938-ae1b-875ffc6b70b6" providerId="ADAL" clId="{CE5F84DC-FB48-484E-960E-D50E0E4FED98}" dt="2023-03-07T10:56:47.850" v="1021" actId="1076"/>
          <ac:spMkLst>
            <pc:docMk/>
            <pc:sldMk cId="1886290154" sldId="260"/>
            <ac:spMk id="32" creationId="{9E25B8AD-F507-4E31-9DF6-2F7A478F068D}"/>
          </ac:spMkLst>
        </pc:spChg>
        <pc:spChg chg="del">
          <ac:chgData name="Dimitri Militschenko" userId="2698819e-f51f-4938-ae1b-875ffc6b70b6" providerId="ADAL" clId="{CE5F84DC-FB48-484E-960E-D50E0E4FED98}" dt="2023-03-07T10:38:54.251" v="660" actId="478"/>
          <ac:spMkLst>
            <pc:docMk/>
            <pc:sldMk cId="1886290154" sldId="260"/>
            <ac:spMk id="33" creationId="{74E9B2F5-CA70-42FA-B664-A55F699C2FEA}"/>
          </ac:spMkLst>
        </pc:spChg>
        <pc:spChg chg="del mod">
          <ac:chgData name="Dimitri Militschenko" userId="2698819e-f51f-4938-ae1b-875ffc6b70b6" providerId="ADAL" clId="{CE5F84DC-FB48-484E-960E-D50E0E4FED98}" dt="2023-03-07T10:56:31.222" v="1019" actId="478"/>
          <ac:spMkLst>
            <pc:docMk/>
            <pc:sldMk cId="1886290154" sldId="260"/>
            <ac:spMk id="34" creationId="{3C102EE3-D92D-45B1-A1F3-0C10BC136E4D}"/>
          </ac:spMkLst>
        </pc:spChg>
        <pc:spChg chg="del mod">
          <ac:chgData name="Dimitri Militschenko" userId="2698819e-f51f-4938-ae1b-875ffc6b70b6" providerId="ADAL" clId="{CE5F84DC-FB48-484E-960E-D50E0E4FED98}" dt="2023-03-07T10:55:45.915" v="958" actId="478"/>
          <ac:spMkLst>
            <pc:docMk/>
            <pc:sldMk cId="1886290154" sldId="260"/>
            <ac:spMk id="35" creationId="{A0E0DBBF-A8B1-4737-8B7D-6DEDB2524007}"/>
          </ac:spMkLst>
        </pc:spChg>
        <pc:spChg chg="del mod">
          <ac:chgData name="Dimitri Militschenko" userId="2698819e-f51f-4938-ae1b-875ffc6b70b6" providerId="ADAL" clId="{CE5F84DC-FB48-484E-960E-D50E0E4FED98}" dt="2023-03-07T10:49:22.437" v="879" actId="478"/>
          <ac:spMkLst>
            <pc:docMk/>
            <pc:sldMk cId="1886290154" sldId="260"/>
            <ac:spMk id="36" creationId="{4805ECAF-49E6-4FB8-A0D6-912B16FE8537}"/>
          </ac:spMkLst>
        </pc:spChg>
        <pc:spChg chg="mod">
          <ac:chgData name="Dimitri Militschenko" userId="2698819e-f51f-4938-ae1b-875ffc6b70b6" providerId="ADAL" clId="{CE5F84DC-FB48-484E-960E-D50E0E4FED98}" dt="2023-03-07T10:57:52.963" v="1027" actId="20577"/>
          <ac:spMkLst>
            <pc:docMk/>
            <pc:sldMk cId="1886290154" sldId="260"/>
            <ac:spMk id="37" creationId="{C5017C0B-3E75-4CB7-B00C-A5A576FD91B3}"/>
          </ac:spMkLst>
        </pc:spChg>
        <pc:spChg chg="add mod">
          <ac:chgData name="Dimitri Militschenko" userId="2698819e-f51f-4938-ae1b-875ffc6b70b6" providerId="ADAL" clId="{CE5F84DC-FB48-484E-960E-D50E0E4FED98}" dt="2023-03-07T10:56:47.850" v="1021" actId="1076"/>
          <ac:spMkLst>
            <pc:docMk/>
            <pc:sldMk cId="1886290154" sldId="260"/>
            <ac:spMk id="38" creationId="{B7B4D921-2183-4BED-9657-452AA0DFAA60}"/>
          </ac:spMkLst>
        </pc:spChg>
        <pc:spChg chg="add mod">
          <ac:chgData name="Dimitri Militschenko" userId="2698819e-f51f-4938-ae1b-875ffc6b70b6" providerId="ADAL" clId="{CE5F84DC-FB48-484E-960E-D50E0E4FED98}" dt="2023-03-07T10:56:47.850" v="1021" actId="1076"/>
          <ac:spMkLst>
            <pc:docMk/>
            <pc:sldMk cId="1886290154" sldId="260"/>
            <ac:spMk id="39" creationId="{166FACCC-07EB-4F83-9A4C-B0A703841347}"/>
          </ac:spMkLst>
        </pc:spChg>
        <pc:spChg chg="add mod">
          <ac:chgData name="Dimitri Militschenko" userId="2698819e-f51f-4938-ae1b-875ffc6b70b6" providerId="ADAL" clId="{CE5F84DC-FB48-484E-960E-D50E0E4FED98}" dt="2023-03-07T11:03:57.506" v="1179" actId="113"/>
          <ac:spMkLst>
            <pc:docMk/>
            <pc:sldMk cId="1886290154" sldId="260"/>
            <ac:spMk id="40" creationId="{ED494EC8-0FBC-46AD-BCB6-AFE8A955C729}"/>
          </ac:spMkLst>
        </pc:spChg>
        <pc:spChg chg="add mod">
          <ac:chgData name="Dimitri Militschenko" userId="2698819e-f51f-4938-ae1b-875ffc6b70b6" providerId="ADAL" clId="{CE5F84DC-FB48-484E-960E-D50E0E4FED98}" dt="2023-03-07T10:56:47.850" v="1021" actId="1076"/>
          <ac:spMkLst>
            <pc:docMk/>
            <pc:sldMk cId="1886290154" sldId="260"/>
            <ac:spMk id="41" creationId="{3F83A9FC-DF2D-4D23-93CB-6CA04A6ADA28}"/>
          </ac:spMkLst>
        </pc:spChg>
        <pc:spChg chg="add mod">
          <ac:chgData name="Dimitri Militschenko" userId="2698819e-f51f-4938-ae1b-875ffc6b70b6" providerId="ADAL" clId="{CE5F84DC-FB48-484E-960E-D50E0E4FED98}" dt="2023-03-07T10:56:47.850" v="1021" actId="1076"/>
          <ac:spMkLst>
            <pc:docMk/>
            <pc:sldMk cId="1886290154" sldId="260"/>
            <ac:spMk id="42" creationId="{D3089898-E62F-4125-A023-B9805F69DA5A}"/>
          </ac:spMkLst>
        </pc:spChg>
        <pc:spChg chg="add mod">
          <ac:chgData name="Dimitri Militschenko" userId="2698819e-f51f-4938-ae1b-875ffc6b70b6" providerId="ADAL" clId="{CE5F84DC-FB48-484E-960E-D50E0E4FED98}" dt="2023-03-07T10:56:47.850" v="1021" actId="1076"/>
          <ac:spMkLst>
            <pc:docMk/>
            <pc:sldMk cId="1886290154" sldId="260"/>
            <ac:spMk id="43" creationId="{9292B92A-4C0F-44A0-B5DE-31FAF79B6EE5}"/>
          </ac:spMkLst>
        </pc:spChg>
        <pc:spChg chg="add mod">
          <ac:chgData name="Dimitri Militschenko" userId="2698819e-f51f-4938-ae1b-875ffc6b70b6" providerId="ADAL" clId="{CE5F84DC-FB48-484E-960E-D50E0E4FED98}" dt="2023-03-07T11:04:04.516" v="1180" actId="113"/>
          <ac:spMkLst>
            <pc:docMk/>
            <pc:sldMk cId="1886290154" sldId="260"/>
            <ac:spMk id="44" creationId="{F9271F09-4292-4BD7-B094-CB404D4B7CAE}"/>
          </ac:spMkLst>
        </pc:spChg>
        <pc:spChg chg="add mod">
          <ac:chgData name="Dimitri Militschenko" userId="2698819e-f51f-4938-ae1b-875ffc6b70b6" providerId="ADAL" clId="{CE5F84DC-FB48-484E-960E-D50E0E4FED98}" dt="2023-03-07T10:56:47.850" v="1021" actId="1076"/>
          <ac:spMkLst>
            <pc:docMk/>
            <pc:sldMk cId="1886290154" sldId="260"/>
            <ac:spMk id="45" creationId="{EA7DE4DF-0FC4-4F5E-ADF4-2D8690A4A94D}"/>
          </ac:spMkLst>
        </pc:spChg>
        <pc:spChg chg="add mod">
          <ac:chgData name="Dimitri Militschenko" userId="2698819e-f51f-4938-ae1b-875ffc6b70b6" providerId="ADAL" clId="{CE5F84DC-FB48-484E-960E-D50E0E4FED98}" dt="2023-03-07T10:56:47.850" v="1021" actId="1076"/>
          <ac:spMkLst>
            <pc:docMk/>
            <pc:sldMk cId="1886290154" sldId="260"/>
            <ac:spMk id="46" creationId="{2C7E8629-CD56-4427-A980-AAF2CF67F16E}"/>
          </ac:spMkLst>
        </pc:spChg>
        <pc:spChg chg="add mod">
          <ac:chgData name="Dimitri Militschenko" userId="2698819e-f51f-4938-ae1b-875ffc6b70b6" providerId="ADAL" clId="{CE5F84DC-FB48-484E-960E-D50E0E4FED98}" dt="2023-03-07T10:56:47.850" v="1021" actId="1076"/>
          <ac:spMkLst>
            <pc:docMk/>
            <pc:sldMk cId="1886290154" sldId="260"/>
            <ac:spMk id="47" creationId="{BA787FBC-8B4A-4B6D-8B47-8C8B40F989F0}"/>
          </ac:spMkLst>
        </pc:spChg>
        <pc:picChg chg="mod">
          <ac:chgData name="Dimitri Militschenko" userId="2698819e-f51f-4938-ae1b-875ffc6b70b6" providerId="ADAL" clId="{CE5F84DC-FB48-484E-960E-D50E0E4FED98}" dt="2023-03-07T10:56:47.850" v="1021" actId="1076"/>
          <ac:picMkLst>
            <pc:docMk/>
            <pc:sldMk cId="1886290154" sldId="260"/>
            <ac:picMk id="6" creationId="{EAC58450-8C7C-46FE-B3A1-2AF946881B83}"/>
          </ac:picMkLst>
        </pc:picChg>
        <pc:cxnChg chg="del mod">
          <ac:chgData name="Dimitri Militschenko" userId="2698819e-f51f-4938-ae1b-875ffc6b70b6" providerId="ADAL" clId="{CE5F84DC-FB48-484E-960E-D50E0E4FED98}" dt="2023-03-07T10:38:54.898" v="661" actId="478"/>
          <ac:cxnSpMkLst>
            <pc:docMk/>
            <pc:sldMk cId="1886290154" sldId="260"/>
            <ac:cxnSpMk id="10" creationId="{C6717914-4CC3-4C0D-99BD-11EBCA5B5801}"/>
          </ac:cxnSpMkLst>
        </pc:cxnChg>
        <pc:cxnChg chg="del mod">
          <ac:chgData name="Dimitri Militschenko" userId="2698819e-f51f-4938-ae1b-875ffc6b70b6" providerId="ADAL" clId="{CE5F84DC-FB48-484E-960E-D50E0E4FED98}" dt="2023-03-07T10:56:32.546" v="1020" actId="478"/>
          <ac:cxnSpMkLst>
            <pc:docMk/>
            <pc:sldMk cId="1886290154" sldId="260"/>
            <ac:cxnSpMk id="11" creationId="{CAD4F7C9-E333-43E4-AA5B-F4FAF08DC58D}"/>
          </ac:cxnSpMkLst>
        </pc:cxnChg>
        <pc:cxnChg chg="add del mod">
          <ac:chgData name="Dimitri Militschenko" userId="2698819e-f51f-4938-ae1b-875ffc6b70b6" providerId="ADAL" clId="{CE5F84DC-FB48-484E-960E-D50E0E4FED98}" dt="2023-03-07T11:19:17.108" v="4725" actId="478"/>
          <ac:cxnSpMkLst>
            <pc:docMk/>
            <pc:sldMk cId="1886290154" sldId="260"/>
            <ac:cxnSpMk id="12" creationId="{105B7069-BA16-4D95-89C7-BA60EC75E9E9}"/>
          </ac:cxnSpMkLst>
        </pc:cxnChg>
        <pc:cxnChg chg="del mod">
          <ac:chgData name="Dimitri Militschenko" userId="2698819e-f51f-4938-ae1b-875ffc6b70b6" providerId="ADAL" clId="{CE5F84DC-FB48-484E-960E-D50E0E4FED98}" dt="2023-03-07T10:55:47.834" v="959" actId="478"/>
          <ac:cxnSpMkLst>
            <pc:docMk/>
            <pc:sldMk cId="1886290154" sldId="260"/>
            <ac:cxnSpMk id="16" creationId="{36877F89-7DED-42FE-A7AD-A1D408716AA3}"/>
          </ac:cxnSpMkLst>
        </pc:cxnChg>
        <pc:cxnChg chg="del mod">
          <ac:chgData name="Dimitri Militschenko" userId="2698819e-f51f-4938-ae1b-875ffc6b70b6" providerId="ADAL" clId="{CE5F84DC-FB48-484E-960E-D50E0E4FED98}" dt="2023-03-07T10:56:07.414" v="968" actId="478"/>
          <ac:cxnSpMkLst>
            <pc:docMk/>
            <pc:sldMk cId="1886290154" sldId="260"/>
            <ac:cxnSpMk id="17" creationId="{E0DEFF46-70B1-4151-B7E4-086C7BE51705}"/>
          </ac:cxnSpMkLst>
        </pc:cxnChg>
        <pc:cxnChg chg="del mod">
          <ac:chgData name="Dimitri Militschenko" userId="2698819e-f51f-4938-ae1b-875ffc6b70b6" providerId="ADAL" clId="{CE5F84DC-FB48-484E-960E-D50E0E4FED98}" dt="2023-03-07T10:49:52.558" v="888" actId="478"/>
          <ac:cxnSpMkLst>
            <pc:docMk/>
            <pc:sldMk cId="1886290154" sldId="260"/>
            <ac:cxnSpMk id="21" creationId="{95B7F1B7-A19B-46F8-886A-371078BEAEEC}"/>
          </ac:cxnSpMkLst>
        </pc:cxnChg>
        <pc:cxnChg chg="del mod">
          <ac:chgData name="Dimitri Militschenko" userId="2698819e-f51f-4938-ae1b-875ffc6b70b6" providerId="ADAL" clId="{CE5F84DC-FB48-484E-960E-D50E0E4FED98}" dt="2023-03-07T10:47:11.562" v="723" actId="478"/>
          <ac:cxnSpMkLst>
            <pc:docMk/>
            <pc:sldMk cId="1886290154" sldId="260"/>
            <ac:cxnSpMk id="25" creationId="{7BFC28CC-8018-48DE-8216-D136E8F36F62}"/>
          </ac:cxnSpMkLst>
        </pc:cxnChg>
      </pc:sldChg>
      <pc:sldChg chg="addSp delSp modSp">
        <pc:chgData name="Dimitri Militschenko" userId="2698819e-f51f-4938-ae1b-875ffc6b70b6" providerId="ADAL" clId="{CE5F84DC-FB48-484E-960E-D50E0E4FED98}" dt="2023-03-07T11:16:58.584" v="4713"/>
        <pc:sldMkLst>
          <pc:docMk/>
          <pc:sldMk cId="2389000172" sldId="266"/>
        </pc:sldMkLst>
        <pc:spChg chg="mod">
          <ac:chgData name="Dimitri Militschenko" userId="2698819e-f51f-4938-ae1b-875ffc6b70b6" providerId="ADAL" clId="{CE5F84DC-FB48-484E-960E-D50E0E4FED98}" dt="2023-03-07T11:16:58.540" v="4628" actId="948"/>
          <ac:spMkLst>
            <pc:docMk/>
            <pc:sldMk cId="2389000172" sldId="266"/>
            <ac:spMk id="3" creationId="{843EC4F4-91B5-492D-B43E-B1C2126FDC8B}"/>
          </ac:spMkLst>
        </pc:spChg>
        <pc:spChg chg="add del mod">
          <ac:chgData name="Dimitri Militschenko" userId="2698819e-f51f-4938-ae1b-875ffc6b70b6" providerId="ADAL" clId="{CE5F84DC-FB48-484E-960E-D50E0E4FED98}" dt="2023-03-07T11:07:08.556" v="1309"/>
          <ac:spMkLst>
            <pc:docMk/>
            <pc:sldMk cId="2389000172" sldId="266"/>
            <ac:spMk id="6" creationId="{B68388A4-B011-4A3C-B899-CF27369DDEAC}"/>
          </ac:spMkLst>
        </pc:spChg>
        <pc:spChg chg="add del mod">
          <ac:chgData name="Dimitri Militschenko" userId="2698819e-f51f-4938-ae1b-875ffc6b70b6" providerId="ADAL" clId="{CE5F84DC-FB48-484E-960E-D50E0E4FED98}" dt="2023-03-07T11:07:09.918" v="1381"/>
          <ac:spMkLst>
            <pc:docMk/>
            <pc:sldMk cId="2389000172" sldId="266"/>
            <ac:spMk id="8" creationId="{CEDEA8E0-28AB-499E-ABBB-15C0C7B239B4}"/>
          </ac:spMkLst>
        </pc:spChg>
        <pc:spChg chg="add del mod">
          <ac:chgData name="Dimitri Militschenko" userId="2698819e-f51f-4938-ae1b-875ffc6b70b6" providerId="ADAL" clId="{CE5F84DC-FB48-484E-960E-D50E0E4FED98}" dt="2023-03-07T11:07:10.477" v="1453"/>
          <ac:spMkLst>
            <pc:docMk/>
            <pc:sldMk cId="2389000172" sldId="266"/>
            <ac:spMk id="9" creationId="{E6BBDDD5-B982-439E-A98A-90711208B167}"/>
          </ac:spMkLst>
        </pc:spChg>
        <pc:spChg chg="add del mod">
          <ac:chgData name="Dimitri Militschenko" userId="2698819e-f51f-4938-ae1b-875ffc6b70b6" providerId="ADAL" clId="{CE5F84DC-FB48-484E-960E-D50E0E4FED98}" dt="2023-03-07T11:07:12.544" v="1531"/>
          <ac:spMkLst>
            <pc:docMk/>
            <pc:sldMk cId="2389000172" sldId="266"/>
            <ac:spMk id="10" creationId="{7522ECBF-4BED-411E-8141-142D34BBD395}"/>
          </ac:spMkLst>
        </pc:spChg>
        <pc:spChg chg="add del mod">
          <ac:chgData name="Dimitri Militschenko" userId="2698819e-f51f-4938-ae1b-875ffc6b70b6" providerId="ADAL" clId="{CE5F84DC-FB48-484E-960E-D50E0E4FED98}" dt="2023-03-07T11:07:16.119" v="1622"/>
          <ac:spMkLst>
            <pc:docMk/>
            <pc:sldMk cId="2389000172" sldId="266"/>
            <ac:spMk id="11" creationId="{5EBC6382-E782-4B3D-80CE-84F29792BA7E}"/>
          </ac:spMkLst>
        </pc:spChg>
        <pc:spChg chg="add del mod">
          <ac:chgData name="Dimitri Militschenko" userId="2698819e-f51f-4938-ae1b-875ffc6b70b6" providerId="ADAL" clId="{CE5F84DC-FB48-484E-960E-D50E0E4FED98}" dt="2023-03-07T11:07:22.072" v="1703"/>
          <ac:spMkLst>
            <pc:docMk/>
            <pc:sldMk cId="2389000172" sldId="266"/>
            <ac:spMk id="12" creationId="{09389D88-B01C-4B19-AB13-34ED349A8B23}"/>
          </ac:spMkLst>
        </pc:spChg>
        <pc:spChg chg="add del mod">
          <ac:chgData name="Dimitri Militschenko" userId="2698819e-f51f-4938-ae1b-875ffc6b70b6" providerId="ADAL" clId="{CE5F84DC-FB48-484E-960E-D50E0E4FED98}" dt="2023-03-07T11:07:24.364" v="1780"/>
          <ac:spMkLst>
            <pc:docMk/>
            <pc:sldMk cId="2389000172" sldId="266"/>
            <ac:spMk id="13" creationId="{73F9DA44-C760-472B-8F38-9B5F446E0DCD}"/>
          </ac:spMkLst>
        </pc:spChg>
        <pc:spChg chg="add del mod">
          <ac:chgData name="Dimitri Militschenko" userId="2698819e-f51f-4938-ae1b-875ffc6b70b6" providerId="ADAL" clId="{CE5F84DC-FB48-484E-960E-D50E0E4FED98}" dt="2023-03-07T11:07:25.854" v="1859"/>
          <ac:spMkLst>
            <pc:docMk/>
            <pc:sldMk cId="2389000172" sldId="266"/>
            <ac:spMk id="14" creationId="{61709C3A-EF8B-4543-A2BB-7E596D607246}"/>
          </ac:spMkLst>
        </pc:spChg>
        <pc:spChg chg="add del mod">
          <ac:chgData name="Dimitri Militschenko" userId="2698819e-f51f-4938-ae1b-875ffc6b70b6" providerId="ADAL" clId="{CE5F84DC-FB48-484E-960E-D50E0E4FED98}" dt="2023-03-07T11:07:40.140" v="1933"/>
          <ac:spMkLst>
            <pc:docMk/>
            <pc:sldMk cId="2389000172" sldId="266"/>
            <ac:spMk id="15" creationId="{D7746D11-6E69-40E9-B010-EF5141B66401}"/>
          </ac:spMkLst>
        </pc:spChg>
        <pc:spChg chg="add del mod">
          <ac:chgData name="Dimitri Militschenko" userId="2698819e-f51f-4938-ae1b-875ffc6b70b6" providerId="ADAL" clId="{CE5F84DC-FB48-484E-960E-D50E0E4FED98}" dt="2023-03-07T11:07:41.400" v="2008"/>
          <ac:spMkLst>
            <pc:docMk/>
            <pc:sldMk cId="2389000172" sldId="266"/>
            <ac:spMk id="16" creationId="{6A6E414A-0CD0-4944-BF86-4EF939663263}"/>
          </ac:spMkLst>
        </pc:spChg>
        <pc:spChg chg="add del mod">
          <ac:chgData name="Dimitri Militschenko" userId="2698819e-f51f-4938-ae1b-875ffc6b70b6" providerId="ADAL" clId="{CE5F84DC-FB48-484E-960E-D50E0E4FED98}" dt="2023-03-07T11:07:43.473" v="2088"/>
          <ac:spMkLst>
            <pc:docMk/>
            <pc:sldMk cId="2389000172" sldId="266"/>
            <ac:spMk id="17" creationId="{C7192977-A35F-4F24-9411-1D7119094E2A}"/>
          </ac:spMkLst>
        </pc:spChg>
        <pc:spChg chg="add del mod">
          <ac:chgData name="Dimitri Militschenko" userId="2698819e-f51f-4938-ae1b-875ffc6b70b6" providerId="ADAL" clId="{CE5F84DC-FB48-484E-960E-D50E0E4FED98}" dt="2023-03-07T11:07:44.784" v="2130"/>
          <ac:spMkLst>
            <pc:docMk/>
            <pc:sldMk cId="2389000172" sldId="266"/>
            <ac:spMk id="18" creationId="{06A1C4E8-3536-43E4-917C-FDAB08D2A207}"/>
          </ac:spMkLst>
        </pc:spChg>
        <pc:spChg chg="add del mod">
          <ac:chgData name="Dimitri Militschenko" userId="2698819e-f51f-4938-ae1b-875ffc6b70b6" providerId="ADAL" clId="{CE5F84DC-FB48-484E-960E-D50E0E4FED98}" dt="2023-03-07T11:07:45.607" v="2172"/>
          <ac:spMkLst>
            <pc:docMk/>
            <pc:sldMk cId="2389000172" sldId="266"/>
            <ac:spMk id="19" creationId="{40C72A2C-AF77-4DFF-8753-39945A231C1B}"/>
          </ac:spMkLst>
        </pc:spChg>
        <pc:spChg chg="add del mod">
          <ac:chgData name="Dimitri Militschenko" userId="2698819e-f51f-4938-ae1b-875ffc6b70b6" providerId="ADAL" clId="{CE5F84DC-FB48-484E-960E-D50E0E4FED98}" dt="2023-03-07T11:07:56.486" v="2236"/>
          <ac:spMkLst>
            <pc:docMk/>
            <pc:sldMk cId="2389000172" sldId="266"/>
            <ac:spMk id="20" creationId="{6973BAED-7F1F-4B98-97B1-BE2930FDCF5A}"/>
          </ac:spMkLst>
        </pc:spChg>
        <pc:spChg chg="add del mod">
          <ac:chgData name="Dimitri Militschenko" userId="2698819e-f51f-4938-ae1b-875ffc6b70b6" providerId="ADAL" clId="{CE5F84DC-FB48-484E-960E-D50E0E4FED98}" dt="2023-03-07T11:07:57.231" v="2278"/>
          <ac:spMkLst>
            <pc:docMk/>
            <pc:sldMk cId="2389000172" sldId="266"/>
            <ac:spMk id="21" creationId="{54D34706-0C6E-4CC9-8279-0A3BEDEC86AC}"/>
          </ac:spMkLst>
        </pc:spChg>
        <pc:spChg chg="add del mod">
          <ac:chgData name="Dimitri Militschenko" userId="2698819e-f51f-4938-ae1b-875ffc6b70b6" providerId="ADAL" clId="{CE5F84DC-FB48-484E-960E-D50E0E4FED98}" dt="2023-03-07T11:08:01.564" v="2341"/>
          <ac:spMkLst>
            <pc:docMk/>
            <pc:sldMk cId="2389000172" sldId="266"/>
            <ac:spMk id="22" creationId="{FBEC2A7E-71FF-4270-B0E3-96CD0A34FE3E}"/>
          </ac:spMkLst>
        </pc:spChg>
        <pc:spChg chg="add del mod">
          <ac:chgData name="Dimitri Militschenko" userId="2698819e-f51f-4938-ae1b-875ffc6b70b6" providerId="ADAL" clId="{CE5F84DC-FB48-484E-960E-D50E0E4FED98}" dt="2023-03-07T11:08:02.542" v="2386"/>
          <ac:spMkLst>
            <pc:docMk/>
            <pc:sldMk cId="2389000172" sldId="266"/>
            <ac:spMk id="23" creationId="{ADD2406F-7618-4FCC-81D4-116DC8FAF86D}"/>
          </ac:spMkLst>
        </pc:spChg>
        <pc:spChg chg="add del mod">
          <ac:chgData name="Dimitri Militschenko" userId="2698819e-f51f-4938-ae1b-875ffc6b70b6" providerId="ADAL" clId="{CE5F84DC-FB48-484E-960E-D50E0E4FED98}" dt="2023-03-07T11:08:03.945" v="2429"/>
          <ac:spMkLst>
            <pc:docMk/>
            <pc:sldMk cId="2389000172" sldId="266"/>
            <ac:spMk id="24" creationId="{5BF1C555-E6D3-4E52-9045-D6FE8803A603}"/>
          </ac:spMkLst>
        </pc:spChg>
        <pc:spChg chg="add del mod">
          <ac:chgData name="Dimitri Militschenko" userId="2698819e-f51f-4938-ae1b-875ffc6b70b6" providerId="ADAL" clId="{CE5F84DC-FB48-484E-960E-D50E0E4FED98}" dt="2023-03-07T11:08:11.509" v="2507"/>
          <ac:spMkLst>
            <pc:docMk/>
            <pc:sldMk cId="2389000172" sldId="266"/>
            <ac:spMk id="25" creationId="{8AC08C37-EE5A-44FE-A8F4-80FE926CB899}"/>
          </ac:spMkLst>
        </pc:spChg>
        <pc:spChg chg="add del mod">
          <ac:chgData name="Dimitri Militschenko" userId="2698819e-f51f-4938-ae1b-875ffc6b70b6" providerId="ADAL" clId="{CE5F84DC-FB48-484E-960E-D50E0E4FED98}" dt="2023-03-07T11:08:17.692" v="2554"/>
          <ac:spMkLst>
            <pc:docMk/>
            <pc:sldMk cId="2389000172" sldId="266"/>
            <ac:spMk id="26" creationId="{A1E154D2-F5B2-4929-93D7-AB5F0C07DE63}"/>
          </ac:spMkLst>
        </pc:spChg>
        <pc:spChg chg="add del mod">
          <ac:chgData name="Dimitri Militschenko" userId="2698819e-f51f-4938-ae1b-875ffc6b70b6" providerId="ADAL" clId="{CE5F84DC-FB48-484E-960E-D50E0E4FED98}" dt="2023-03-07T11:08:19.729" v="2602"/>
          <ac:spMkLst>
            <pc:docMk/>
            <pc:sldMk cId="2389000172" sldId="266"/>
            <ac:spMk id="27" creationId="{28E6F3B1-E39D-4773-9431-F9B9076DC211}"/>
          </ac:spMkLst>
        </pc:spChg>
        <pc:spChg chg="add del mod">
          <ac:chgData name="Dimitri Militschenko" userId="2698819e-f51f-4938-ae1b-875ffc6b70b6" providerId="ADAL" clId="{CE5F84DC-FB48-484E-960E-D50E0E4FED98}" dt="2023-03-07T11:08:29.038" v="2653"/>
          <ac:spMkLst>
            <pc:docMk/>
            <pc:sldMk cId="2389000172" sldId="266"/>
            <ac:spMk id="28" creationId="{F7C225EE-0560-4997-9A06-9AC3BBB9F900}"/>
          </ac:spMkLst>
        </pc:spChg>
        <pc:spChg chg="add del mod">
          <ac:chgData name="Dimitri Militschenko" userId="2698819e-f51f-4938-ae1b-875ffc6b70b6" providerId="ADAL" clId="{CE5F84DC-FB48-484E-960E-D50E0E4FED98}" dt="2023-03-07T11:08:33.097" v="2695"/>
          <ac:spMkLst>
            <pc:docMk/>
            <pc:sldMk cId="2389000172" sldId="266"/>
            <ac:spMk id="29" creationId="{7D3FD8F2-9042-4C80-ACF9-683BF6399D1E}"/>
          </ac:spMkLst>
        </pc:spChg>
        <pc:spChg chg="add del mod">
          <ac:chgData name="Dimitri Militschenko" userId="2698819e-f51f-4938-ae1b-875ffc6b70b6" providerId="ADAL" clId="{CE5F84DC-FB48-484E-960E-D50E0E4FED98}" dt="2023-03-07T11:08:36.151" v="2750"/>
          <ac:spMkLst>
            <pc:docMk/>
            <pc:sldMk cId="2389000172" sldId="266"/>
            <ac:spMk id="30" creationId="{4B37342B-CB66-4550-8076-A24D7B447BC0}"/>
          </ac:spMkLst>
        </pc:spChg>
        <pc:spChg chg="add del mod">
          <ac:chgData name="Dimitri Militschenko" userId="2698819e-f51f-4938-ae1b-875ffc6b70b6" providerId="ADAL" clId="{CE5F84DC-FB48-484E-960E-D50E0E4FED98}" dt="2023-03-07T11:08:41.434" v="2806"/>
          <ac:spMkLst>
            <pc:docMk/>
            <pc:sldMk cId="2389000172" sldId="266"/>
            <ac:spMk id="31" creationId="{CAC157D2-45A8-449F-888A-EB21E7A60CEF}"/>
          </ac:spMkLst>
        </pc:spChg>
        <pc:spChg chg="add del mod">
          <ac:chgData name="Dimitri Militschenko" userId="2698819e-f51f-4938-ae1b-875ffc6b70b6" providerId="ADAL" clId="{CE5F84DC-FB48-484E-960E-D50E0E4FED98}" dt="2023-03-07T11:08:42.269" v="2849"/>
          <ac:spMkLst>
            <pc:docMk/>
            <pc:sldMk cId="2389000172" sldId="266"/>
            <ac:spMk id="32" creationId="{C78E832E-BD75-45F3-9BB4-859BA1407E98}"/>
          </ac:spMkLst>
        </pc:spChg>
        <pc:spChg chg="add del mod">
          <ac:chgData name="Dimitri Militschenko" userId="2698819e-f51f-4938-ae1b-875ffc6b70b6" providerId="ADAL" clId="{CE5F84DC-FB48-484E-960E-D50E0E4FED98}" dt="2023-03-07T11:08:52.446" v="2900"/>
          <ac:spMkLst>
            <pc:docMk/>
            <pc:sldMk cId="2389000172" sldId="266"/>
            <ac:spMk id="33" creationId="{4BDE7750-3E0A-4C8F-9873-5472605056AE}"/>
          </ac:spMkLst>
        </pc:spChg>
        <pc:spChg chg="add del mod">
          <ac:chgData name="Dimitri Militschenko" userId="2698819e-f51f-4938-ae1b-875ffc6b70b6" providerId="ADAL" clId="{CE5F84DC-FB48-484E-960E-D50E0E4FED98}" dt="2023-03-07T11:08:56.816" v="2942"/>
          <ac:spMkLst>
            <pc:docMk/>
            <pc:sldMk cId="2389000172" sldId="266"/>
            <ac:spMk id="34" creationId="{E9488530-EEE7-411E-B1F9-44F8F6D26E4E}"/>
          </ac:spMkLst>
        </pc:spChg>
        <pc:spChg chg="add del mod">
          <ac:chgData name="Dimitri Militschenko" userId="2698819e-f51f-4938-ae1b-875ffc6b70b6" providerId="ADAL" clId="{CE5F84DC-FB48-484E-960E-D50E0E4FED98}" dt="2023-03-07T11:08:58.754" v="2984"/>
          <ac:spMkLst>
            <pc:docMk/>
            <pc:sldMk cId="2389000172" sldId="266"/>
            <ac:spMk id="35" creationId="{A9F963AD-3505-4C8F-B4C5-8103FFB0A12A}"/>
          </ac:spMkLst>
        </pc:spChg>
        <pc:spChg chg="add del mod">
          <ac:chgData name="Dimitri Militschenko" userId="2698819e-f51f-4938-ae1b-875ffc6b70b6" providerId="ADAL" clId="{CE5F84DC-FB48-484E-960E-D50E0E4FED98}" dt="2023-03-07T11:09:00.928" v="3026"/>
          <ac:spMkLst>
            <pc:docMk/>
            <pc:sldMk cId="2389000172" sldId="266"/>
            <ac:spMk id="36" creationId="{75D1F133-375A-401F-A167-E3FFA1CB9788}"/>
          </ac:spMkLst>
        </pc:spChg>
        <pc:spChg chg="add del mod">
          <ac:chgData name="Dimitri Militschenko" userId="2698819e-f51f-4938-ae1b-875ffc6b70b6" providerId="ADAL" clId="{CE5F84DC-FB48-484E-960E-D50E0E4FED98}" dt="2023-03-07T11:09:02.628" v="3068"/>
          <ac:spMkLst>
            <pc:docMk/>
            <pc:sldMk cId="2389000172" sldId="266"/>
            <ac:spMk id="37" creationId="{DE9E4226-3448-4D0C-9B16-331FCDBBC16B}"/>
          </ac:spMkLst>
        </pc:spChg>
        <pc:spChg chg="add del mod">
          <ac:chgData name="Dimitri Militschenko" userId="2698819e-f51f-4938-ae1b-875ffc6b70b6" providerId="ADAL" clId="{CE5F84DC-FB48-484E-960E-D50E0E4FED98}" dt="2023-03-07T11:09:04.831" v="3110"/>
          <ac:spMkLst>
            <pc:docMk/>
            <pc:sldMk cId="2389000172" sldId="266"/>
            <ac:spMk id="38" creationId="{70995C4B-0573-4870-BCBA-39A6B77C2074}"/>
          </ac:spMkLst>
        </pc:spChg>
        <pc:spChg chg="add del mod">
          <ac:chgData name="Dimitri Militschenko" userId="2698819e-f51f-4938-ae1b-875ffc6b70b6" providerId="ADAL" clId="{CE5F84DC-FB48-484E-960E-D50E0E4FED98}" dt="2023-03-07T11:09:05.926" v="3152"/>
          <ac:spMkLst>
            <pc:docMk/>
            <pc:sldMk cId="2389000172" sldId="266"/>
            <ac:spMk id="39" creationId="{8CBA3A5E-6F43-4054-922B-0F38290312E4}"/>
          </ac:spMkLst>
        </pc:spChg>
        <pc:spChg chg="add del mod">
          <ac:chgData name="Dimitri Militschenko" userId="2698819e-f51f-4938-ae1b-875ffc6b70b6" providerId="ADAL" clId="{CE5F84DC-FB48-484E-960E-D50E0E4FED98}" dt="2023-03-07T11:09:14.627" v="3196"/>
          <ac:spMkLst>
            <pc:docMk/>
            <pc:sldMk cId="2389000172" sldId="266"/>
            <ac:spMk id="40" creationId="{79534EB6-D168-4D8D-A80F-79D3240C278E}"/>
          </ac:spMkLst>
        </pc:spChg>
        <pc:spChg chg="add del mod">
          <ac:chgData name="Dimitri Militschenko" userId="2698819e-f51f-4938-ae1b-875ffc6b70b6" providerId="ADAL" clId="{CE5F84DC-FB48-484E-960E-D50E0E4FED98}" dt="2023-03-07T11:09:21.922" v="3238"/>
          <ac:spMkLst>
            <pc:docMk/>
            <pc:sldMk cId="2389000172" sldId="266"/>
            <ac:spMk id="41" creationId="{74CD436F-5FCB-45E1-88B4-40AF1733E645}"/>
          </ac:spMkLst>
        </pc:spChg>
        <pc:spChg chg="add del mod">
          <ac:chgData name="Dimitri Militschenko" userId="2698819e-f51f-4938-ae1b-875ffc6b70b6" providerId="ADAL" clId="{CE5F84DC-FB48-484E-960E-D50E0E4FED98}" dt="2023-03-07T11:09:28.421" v="3295"/>
          <ac:spMkLst>
            <pc:docMk/>
            <pc:sldMk cId="2389000172" sldId="266"/>
            <ac:spMk id="42" creationId="{2E32CC49-FD6E-4D63-B389-C85282A0D3C2}"/>
          </ac:spMkLst>
        </pc:spChg>
        <pc:spChg chg="add del mod">
          <ac:chgData name="Dimitri Militschenko" userId="2698819e-f51f-4938-ae1b-875ffc6b70b6" providerId="ADAL" clId="{CE5F84DC-FB48-484E-960E-D50E0E4FED98}" dt="2023-03-07T11:11:42.044" v="3358"/>
          <ac:spMkLst>
            <pc:docMk/>
            <pc:sldMk cId="2389000172" sldId="266"/>
            <ac:spMk id="43" creationId="{2292AD70-D061-4DEE-B426-4F0631DF4FF5}"/>
          </ac:spMkLst>
        </pc:spChg>
        <pc:spChg chg="add del mod">
          <ac:chgData name="Dimitri Militschenko" userId="2698819e-f51f-4938-ae1b-875ffc6b70b6" providerId="ADAL" clId="{CE5F84DC-FB48-484E-960E-D50E0E4FED98}" dt="2023-03-07T11:11:44.682" v="3421"/>
          <ac:spMkLst>
            <pc:docMk/>
            <pc:sldMk cId="2389000172" sldId="266"/>
            <ac:spMk id="44" creationId="{B2E0C43C-701E-41CF-B66D-94FB89068ED8}"/>
          </ac:spMkLst>
        </pc:spChg>
        <pc:spChg chg="add del mod">
          <ac:chgData name="Dimitri Militschenko" userId="2698819e-f51f-4938-ae1b-875ffc6b70b6" providerId="ADAL" clId="{CE5F84DC-FB48-484E-960E-D50E0E4FED98}" dt="2023-03-07T11:11:56.688" v="3508"/>
          <ac:spMkLst>
            <pc:docMk/>
            <pc:sldMk cId="2389000172" sldId="266"/>
            <ac:spMk id="45" creationId="{B5209576-D69A-437C-B888-BDA198FB94A1}"/>
          </ac:spMkLst>
        </pc:spChg>
        <pc:spChg chg="add del mod">
          <ac:chgData name="Dimitri Militschenko" userId="2698819e-f51f-4938-ae1b-875ffc6b70b6" providerId="ADAL" clId="{CE5F84DC-FB48-484E-960E-D50E0E4FED98}" dt="2023-03-07T11:11:57.479" v="3565"/>
          <ac:spMkLst>
            <pc:docMk/>
            <pc:sldMk cId="2389000172" sldId="266"/>
            <ac:spMk id="46" creationId="{4AFC693C-8FFD-4533-B74B-F91BF65C28E5}"/>
          </ac:spMkLst>
        </pc:spChg>
        <pc:spChg chg="add del mod">
          <ac:chgData name="Dimitri Militschenko" userId="2698819e-f51f-4938-ae1b-875ffc6b70b6" providerId="ADAL" clId="{CE5F84DC-FB48-484E-960E-D50E0E4FED98}" dt="2023-03-07T11:12:02.361" v="3623"/>
          <ac:spMkLst>
            <pc:docMk/>
            <pc:sldMk cId="2389000172" sldId="266"/>
            <ac:spMk id="47" creationId="{64A3D2ED-E72E-4ED3-B6F5-A92ED1B1FB11}"/>
          </ac:spMkLst>
        </pc:spChg>
        <pc:spChg chg="add del mod">
          <ac:chgData name="Dimitri Militschenko" userId="2698819e-f51f-4938-ae1b-875ffc6b70b6" providerId="ADAL" clId="{CE5F84DC-FB48-484E-960E-D50E0E4FED98}" dt="2023-03-07T11:12:03.635" v="3681"/>
          <ac:spMkLst>
            <pc:docMk/>
            <pc:sldMk cId="2389000172" sldId="266"/>
            <ac:spMk id="48" creationId="{F44CE8DA-04F7-40C8-8060-6FBA33C884DD}"/>
          </ac:spMkLst>
        </pc:spChg>
        <pc:spChg chg="add del mod">
          <ac:chgData name="Dimitri Militschenko" userId="2698819e-f51f-4938-ae1b-875ffc6b70b6" providerId="ADAL" clId="{CE5F84DC-FB48-484E-960E-D50E0E4FED98}" dt="2023-03-07T11:12:15.069" v="3739"/>
          <ac:spMkLst>
            <pc:docMk/>
            <pc:sldMk cId="2389000172" sldId="266"/>
            <ac:spMk id="49" creationId="{90BAC79A-09DE-4A4F-87A0-C7538C3DA930}"/>
          </ac:spMkLst>
        </pc:spChg>
        <pc:spChg chg="add del mod">
          <ac:chgData name="Dimitri Militschenko" userId="2698819e-f51f-4938-ae1b-875ffc6b70b6" providerId="ADAL" clId="{CE5F84DC-FB48-484E-960E-D50E0E4FED98}" dt="2023-03-07T11:13:47.788" v="3798"/>
          <ac:spMkLst>
            <pc:docMk/>
            <pc:sldMk cId="2389000172" sldId="266"/>
            <ac:spMk id="50" creationId="{8CBDC174-4DF3-4DDE-8951-C8935C4C77A7}"/>
          </ac:spMkLst>
        </pc:spChg>
        <pc:spChg chg="add del mod">
          <ac:chgData name="Dimitri Militschenko" userId="2698819e-f51f-4938-ae1b-875ffc6b70b6" providerId="ADAL" clId="{CE5F84DC-FB48-484E-960E-D50E0E4FED98}" dt="2023-03-07T11:14:41.250" v="3861"/>
          <ac:spMkLst>
            <pc:docMk/>
            <pc:sldMk cId="2389000172" sldId="266"/>
            <ac:spMk id="51" creationId="{94B94CA5-1E17-4433-A5FB-B43945FAA96E}"/>
          </ac:spMkLst>
        </pc:spChg>
        <pc:spChg chg="add del mod">
          <ac:chgData name="Dimitri Militschenko" userId="2698819e-f51f-4938-ae1b-875ffc6b70b6" providerId="ADAL" clId="{CE5F84DC-FB48-484E-960E-D50E0E4FED98}" dt="2023-03-07T11:14:44.291" v="3933"/>
          <ac:spMkLst>
            <pc:docMk/>
            <pc:sldMk cId="2389000172" sldId="266"/>
            <ac:spMk id="52" creationId="{AECF0B62-8C19-4DED-9872-8F80FB13F891}"/>
          </ac:spMkLst>
        </pc:spChg>
        <pc:spChg chg="add del mod">
          <ac:chgData name="Dimitri Militschenko" userId="2698819e-f51f-4938-ae1b-875ffc6b70b6" providerId="ADAL" clId="{CE5F84DC-FB48-484E-960E-D50E0E4FED98}" dt="2023-03-07T11:14:47.954" v="3991"/>
          <ac:spMkLst>
            <pc:docMk/>
            <pc:sldMk cId="2389000172" sldId="266"/>
            <ac:spMk id="53" creationId="{459A7BFC-216C-4031-8639-8DDDBB85A477}"/>
          </ac:spMkLst>
        </pc:spChg>
        <pc:spChg chg="add del mod">
          <ac:chgData name="Dimitri Militschenko" userId="2698819e-f51f-4938-ae1b-875ffc6b70b6" providerId="ADAL" clId="{CE5F84DC-FB48-484E-960E-D50E0E4FED98}" dt="2023-03-07T11:15:42.639" v="4284" actId="478"/>
          <ac:spMkLst>
            <pc:docMk/>
            <pc:sldMk cId="2389000172" sldId="266"/>
            <ac:spMk id="54" creationId="{B64FA00A-A9D2-4AC5-8A2F-A9D60AF524AE}"/>
          </ac:spMkLst>
        </pc:spChg>
        <pc:spChg chg="add del mod">
          <ac:chgData name="Dimitri Militschenko" userId="2698819e-f51f-4938-ae1b-875ffc6b70b6" providerId="ADAL" clId="{CE5F84DC-FB48-484E-960E-D50E0E4FED98}" dt="2023-03-07T11:15:40.947" v="4171" actId="139"/>
          <ac:spMkLst>
            <pc:docMk/>
            <pc:sldMk cId="2389000172" sldId="266"/>
            <ac:spMk id="55" creationId="{36C625B0-4112-4834-8384-0A69EED2CAA9}"/>
          </ac:spMkLst>
        </pc:spChg>
        <pc:spChg chg="add del mod">
          <ac:chgData name="Dimitri Militschenko" userId="2698819e-f51f-4938-ae1b-875ffc6b70b6" providerId="ADAL" clId="{CE5F84DC-FB48-484E-960E-D50E0E4FED98}" dt="2023-03-07T11:15:56.979" v="4358"/>
          <ac:spMkLst>
            <pc:docMk/>
            <pc:sldMk cId="2389000172" sldId="266"/>
            <ac:spMk id="56" creationId="{56577EE1-E0F3-4538-BC71-7D3612280042}"/>
          </ac:spMkLst>
        </pc:spChg>
        <pc:spChg chg="add del mod">
          <ac:chgData name="Dimitri Militschenko" userId="2698819e-f51f-4938-ae1b-875ffc6b70b6" providerId="ADAL" clId="{CE5F84DC-FB48-484E-960E-D50E0E4FED98}" dt="2023-03-07T11:16:04.812" v="4430"/>
          <ac:spMkLst>
            <pc:docMk/>
            <pc:sldMk cId="2389000172" sldId="266"/>
            <ac:spMk id="57" creationId="{4BA62AC1-F6A1-4B70-AA81-B99D3022513F}"/>
          </ac:spMkLst>
        </pc:spChg>
        <pc:spChg chg="add del mod">
          <ac:chgData name="Dimitri Militschenko" userId="2698819e-f51f-4938-ae1b-875ffc6b70b6" providerId="ADAL" clId="{CE5F84DC-FB48-484E-960E-D50E0E4FED98}" dt="2023-03-07T11:16:16.696" v="4487"/>
          <ac:spMkLst>
            <pc:docMk/>
            <pc:sldMk cId="2389000172" sldId="266"/>
            <ac:spMk id="58" creationId="{9B8FA3E0-624B-47C8-8B44-276FB231E10C}"/>
          </ac:spMkLst>
        </pc:spChg>
        <pc:spChg chg="add del mod">
          <ac:chgData name="Dimitri Militschenko" userId="2698819e-f51f-4938-ae1b-875ffc6b70b6" providerId="ADAL" clId="{CE5F84DC-FB48-484E-960E-D50E0E4FED98}" dt="2023-03-07T11:16:53.559" v="4549"/>
          <ac:spMkLst>
            <pc:docMk/>
            <pc:sldMk cId="2389000172" sldId="266"/>
            <ac:spMk id="59" creationId="{464498FD-E3B5-4D23-8675-07B7B227B143}"/>
          </ac:spMkLst>
        </pc:spChg>
        <pc:spChg chg="add del mod">
          <ac:chgData name="Dimitri Militschenko" userId="2698819e-f51f-4938-ae1b-875ffc6b70b6" providerId="ADAL" clId="{CE5F84DC-FB48-484E-960E-D50E0E4FED98}" dt="2023-03-07T11:16:57.209" v="4624"/>
          <ac:spMkLst>
            <pc:docMk/>
            <pc:sldMk cId="2389000172" sldId="266"/>
            <ac:spMk id="60" creationId="{504A3E60-6778-4B17-9847-38F9BF52A8EE}"/>
          </ac:spMkLst>
        </pc:spChg>
        <pc:spChg chg="add del mod">
          <ac:chgData name="Dimitri Militschenko" userId="2698819e-f51f-4938-ae1b-875ffc6b70b6" providerId="ADAL" clId="{CE5F84DC-FB48-484E-960E-D50E0E4FED98}" dt="2023-03-07T11:16:58.582" v="4711"/>
          <ac:spMkLst>
            <pc:docMk/>
            <pc:sldMk cId="2389000172" sldId="266"/>
            <ac:spMk id="61" creationId="{1C5BA697-BAC3-42DD-BC55-BC6F0552A3A2}"/>
          </ac:spMkLst>
        </pc:spChg>
        <pc:graphicFrameChg chg="mod">
          <ac:chgData name="Dimitri Militschenko" userId="2698819e-f51f-4938-ae1b-875ffc6b70b6" providerId="ADAL" clId="{CE5F84DC-FB48-484E-960E-D50E0E4FED98}" dt="2023-03-07T11:16:58.584" v="4713"/>
          <ac:graphicFrameMkLst>
            <pc:docMk/>
            <pc:sldMk cId="2389000172" sldId="266"/>
            <ac:graphicFrameMk id="7" creationId="{86CC1DF6-00DD-4FBE-B9CB-B5D097381298}"/>
          </ac:graphicFrameMkLst>
        </pc:graphicFrameChg>
        <pc:picChg chg="mod">
          <ac:chgData name="Dimitri Militschenko" userId="2698819e-f51f-4938-ae1b-875ffc6b70b6" providerId="ADAL" clId="{CE5F84DC-FB48-484E-960E-D50E0E4FED98}" dt="2023-03-07T11:11:01.806" v="3298" actId="14861"/>
          <ac:picMkLst>
            <pc:docMk/>
            <pc:sldMk cId="2389000172" sldId="266"/>
            <ac:picMk id="4" creationId="{697B4DFD-F9F9-4A83-ABA8-8D814ADAA84C}"/>
          </ac:picMkLst>
        </pc:picChg>
      </pc:sldChg>
      <pc:sldChg chg="addSp modSp">
        <pc:chgData name="Dimitri Militschenko" userId="2698819e-f51f-4938-ae1b-875ffc6b70b6" providerId="ADAL" clId="{CE5F84DC-FB48-484E-960E-D50E0E4FED98}" dt="2023-03-07T11:18:30.563" v="4719" actId="555"/>
        <pc:sldMkLst>
          <pc:docMk/>
          <pc:sldMk cId="1325671312" sldId="267"/>
        </pc:sldMkLst>
        <pc:spChg chg="mod">
          <ac:chgData name="Dimitri Militschenko" userId="2698819e-f51f-4938-ae1b-875ffc6b70b6" providerId="ADAL" clId="{CE5F84DC-FB48-484E-960E-D50E0E4FED98}" dt="2023-03-07T11:05:37.815" v="1193" actId="113"/>
          <ac:spMkLst>
            <pc:docMk/>
            <pc:sldMk cId="1325671312" sldId="267"/>
            <ac:spMk id="3" creationId="{33ADE9D8-D38A-4351-88F3-E78D2F95414B}"/>
          </ac:spMkLst>
        </pc:spChg>
        <pc:spChg chg="add mod">
          <ac:chgData name="Dimitri Militschenko" userId="2698819e-f51f-4938-ae1b-875ffc6b70b6" providerId="ADAL" clId="{CE5F84DC-FB48-484E-960E-D50E0E4FED98}" dt="2023-03-07T11:18:30.563" v="4719" actId="555"/>
          <ac:spMkLst>
            <pc:docMk/>
            <pc:sldMk cId="1325671312" sldId="267"/>
            <ac:spMk id="10" creationId="{91163916-DCFC-49C1-BEEE-6C87030502C2}"/>
          </ac:spMkLst>
        </pc:spChg>
        <pc:spChg chg="mod">
          <ac:chgData name="Dimitri Militschenko" userId="2698819e-f51f-4938-ae1b-875ffc6b70b6" providerId="ADAL" clId="{CE5F84DC-FB48-484E-960E-D50E0E4FED98}" dt="2023-03-07T10:59:33.312" v="1056" actId="20577"/>
          <ac:spMkLst>
            <pc:docMk/>
            <pc:sldMk cId="1325671312" sldId="267"/>
            <ac:spMk id="11" creationId="{B8906F85-7AA7-487C-A5AD-6406A0AD16C9}"/>
          </ac:spMkLst>
        </pc:spChg>
        <pc:spChg chg="mod">
          <ac:chgData name="Dimitri Militschenko" userId="2698819e-f51f-4938-ae1b-875ffc6b70b6" providerId="ADAL" clId="{CE5F84DC-FB48-484E-960E-D50E0E4FED98}" dt="2023-03-07T11:18:30.563" v="4719" actId="555"/>
          <ac:spMkLst>
            <pc:docMk/>
            <pc:sldMk cId="1325671312" sldId="267"/>
            <ac:spMk id="12" creationId="{A4C187FB-BF2A-42E9-8046-2E55810EA5FE}"/>
          </ac:spMkLst>
        </pc:spChg>
        <pc:picChg chg="mod">
          <ac:chgData name="Dimitri Militschenko" userId="2698819e-f51f-4938-ae1b-875ffc6b70b6" providerId="ADAL" clId="{CE5F84DC-FB48-484E-960E-D50E0E4FED98}" dt="2023-03-07T10:31:31.496" v="417" actId="1076"/>
          <ac:picMkLst>
            <pc:docMk/>
            <pc:sldMk cId="1325671312" sldId="267"/>
            <ac:picMk id="4" creationId="{E5DB18C1-FF95-4085-A97E-89EC374C183C}"/>
          </ac:picMkLst>
        </pc:picChg>
        <pc:picChg chg="mod">
          <ac:chgData name="Dimitri Militschenko" userId="2698819e-f51f-4938-ae1b-875ffc6b70b6" providerId="ADAL" clId="{CE5F84DC-FB48-484E-960E-D50E0E4FED98}" dt="2023-03-07T10:32:51.573" v="451" actId="1076"/>
          <ac:picMkLst>
            <pc:docMk/>
            <pc:sldMk cId="1325671312" sldId="267"/>
            <ac:picMk id="3082" creationId="{19338693-CC4F-4B5F-8F78-36B1E5AEB5F9}"/>
          </ac:picMkLst>
        </pc:picChg>
      </pc:sldChg>
      <pc:sldChg chg="modSp">
        <pc:chgData name="Dimitri Militschenko" userId="2698819e-f51f-4938-ae1b-875ffc6b70b6" providerId="ADAL" clId="{CE5F84DC-FB48-484E-960E-D50E0E4FED98}" dt="2023-03-07T11:05:14.519" v="1188" actId="113"/>
        <pc:sldMkLst>
          <pc:docMk/>
          <pc:sldMk cId="3857656806" sldId="268"/>
        </pc:sldMkLst>
        <pc:spChg chg="mod">
          <ac:chgData name="Dimitri Militschenko" userId="2698819e-f51f-4938-ae1b-875ffc6b70b6" providerId="ADAL" clId="{CE5F84DC-FB48-484E-960E-D50E0E4FED98}" dt="2023-03-07T10:28:21.674" v="286" actId="20577"/>
          <ac:spMkLst>
            <pc:docMk/>
            <pc:sldMk cId="3857656806" sldId="268"/>
            <ac:spMk id="4" creationId="{9ABB5680-89F6-44F1-B670-54B4F1CD8F8D}"/>
          </ac:spMkLst>
        </pc:spChg>
        <pc:spChg chg="mod">
          <ac:chgData name="Dimitri Militschenko" userId="2698819e-f51f-4938-ae1b-875ffc6b70b6" providerId="ADAL" clId="{CE5F84DC-FB48-484E-960E-D50E0E4FED98}" dt="2023-03-07T10:32:19.033" v="433" actId="1076"/>
          <ac:spMkLst>
            <pc:docMk/>
            <pc:sldMk cId="3857656806" sldId="268"/>
            <ac:spMk id="6" creationId="{F022083A-F44D-4E35-8C00-90028792AB02}"/>
          </ac:spMkLst>
        </pc:spChg>
        <pc:spChg chg="mod">
          <ac:chgData name="Dimitri Militschenko" userId="2698819e-f51f-4938-ae1b-875ffc6b70b6" providerId="ADAL" clId="{CE5F84DC-FB48-484E-960E-D50E0E4FED98}" dt="2023-03-07T11:05:14.519" v="1188" actId="113"/>
          <ac:spMkLst>
            <pc:docMk/>
            <pc:sldMk cId="3857656806" sldId="268"/>
            <ac:spMk id="7" creationId="{5415EFE7-4743-4F5B-9F97-0B72861A9A0E}"/>
          </ac:spMkLst>
        </pc:spChg>
        <pc:picChg chg="mod">
          <ac:chgData name="Dimitri Militschenko" userId="2698819e-f51f-4938-ae1b-875ffc6b70b6" providerId="ADAL" clId="{CE5F84DC-FB48-484E-960E-D50E0E4FED98}" dt="2023-03-07T10:24:30.234" v="177" actId="1076"/>
          <ac:picMkLst>
            <pc:docMk/>
            <pc:sldMk cId="3857656806" sldId="268"/>
            <ac:picMk id="5" creationId="{F7CDB726-8FD1-45A1-BC5E-5AECFDDD5C3D}"/>
          </ac:picMkLst>
        </pc:picChg>
        <pc:picChg chg="mod">
          <ac:chgData name="Dimitri Militschenko" userId="2698819e-f51f-4938-ae1b-875ffc6b70b6" providerId="ADAL" clId="{CE5F84DC-FB48-484E-960E-D50E0E4FED98}" dt="2023-03-07T10:24:34.045" v="178" actId="1076"/>
          <ac:picMkLst>
            <pc:docMk/>
            <pc:sldMk cId="3857656806" sldId="268"/>
            <ac:picMk id="8" creationId="{29F79384-8FC9-4F77-9847-6CB8C6076C52}"/>
          </ac:picMkLst>
        </pc:picChg>
      </pc:sldChg>
      <pc:sldChg chg="addSp delSp modSp">
        <pc:chgData name="Dimitri Militschenko" userId="2698819e-f51f-4938-ae1b-875ffc6b70b6" providerId="ADAL" clId="{CE5F84DC-FB48-484E-960E-D50E0E4FED98}" dt="2023-03-07T11:06:12.170" v="1222" actId="20577"/>
        <pc:sldMkLst>
          <pc:docMk/>
          <pc:sldMk cId="1595703888" sldId="2147474933"/>
        </pc:sldMkLst>
        <pc:spChg chg="mod ord">
          <ac:chgData name="Dimitri Militschenko" userId="2698819e-f51f-4938-ae1b-875ffc6b70b6" providerId="ADAL" clId="{CE5F84DC-FB48-484E-960E-D50E0E4FED98}" dt="2023-03-07T10:16:47.463" v="132"/>
          <ac:spMkLst>
            <pc:docMk/>
            <pc:sldMk cId="1595703888" sldId="2147474933"/>
            <ac:spMk id="5" creationId="{3095CD59-4895-4C6D-88A7-6ADB9E88D4F5}"/>
          </ac:spMkLst>
        </pc:spChg>
        <pc:spChg chg="mod ord">
          <ac:chgData name="Dimitri Militschenko" userId="2698819e-f51f-4938-ae1b-875ffc6b70b6" providerId="ADAL" clId="{CE5F84DC-FB48-484E-960E-D50E0E4FED98}" dt="2023-03-07T11:06:12.170" v="1222" actId="20577"/>
          <ac:spMkLst>
            <pc:docMk/>
            <pc:sldMk cId="1595703888" sldId="2147474933"/>
            <ac:spMk id="6" creationId="{723E1BD3-552E-49A5-B2A6-1038DF60EC3B}"/>
          </ac:spMkLst>
        </pc:spChg>
        <pc:spChg chg="mod ord">
          <ac:chgData name="Dimitri Militschenko" userId="2698819e-f51f-4938-ae1b-875ffc6b70b6" providerId="ADAL" clId="{CE5F84DC-FB48-484E-960E-D50E0E4FED98}" dt="2023-03-07T10:31:55.763" v="422" actId="14100"/>
          <ac:spMkLst>
            <pc:docMk/>
            <pc:sldMk cId="1595703888" sldId="2147474933"/>
            <ac:spMk id="97" creationId="{9E4F75E8-8225-4FA1-8EA8-1512A38292F4}"/>
          </ac:spMkLst>
        </pc:spChg>
        <pc:spChg chg="mod ord">
          <ac:chgData name="Dimitri Militschenko" userId="2698819e-f51f-4938-ae1b-875ffc6b70b6" providerId="ADAL" clId="{CE5F84DC-FB48-484E-960E-D50E0E4FED98}" dt="2023-03-07T10:32:02.987" v="425" actId="1076"/>
          <ac:spMkLst>
            <pc:docMk/>
            <pc:sldMk cId="1595703888" sldId="2147474933"/>
            <ac:spMk id="98" creationId="{064C2B75-EBEA-4B3D-8FE8-6AD31D2A7F68}"/>
          </ac:spMkLst>
        </pc:spChg>
        <pc:graphicFrameChg chg="mod">
          <ac:chgData name="Dimitri Militschenko" userId="2698819e-f51f-4938-ae1b-875ffc6b70b6" providerId="ADAL" clId="{CE5F84DC-FB48-484E-960E-D50E0E4FED98}" dt="2023-03-07T10:16:49.243" v="136" actId="14826"/>
          <ac:graphicFrameMkLst>
            <pc:docMk/>
            <pc:sldMk cId="1595703888" sldId="2147474933"/>
            <ac:graphicFrameMk id="8" creationId="{35C7A42E-DC1C-4E48-8167-1307E8F0C916}"/>
          </ac:graphicFrameMkLst>
        </pc:graphicFrameChg>
        <pc:picChg chg="add del">
          <ac:chgData name="Dimitri Militschenko" userId="2698819e-f51f-4938-ae1b-875ffc6b70b6" providerId="ADAL" clId="{CE5F84DC-FB48-484E-960E-D50E0E4FED98}" dt="2023-03-07T10:16:54.515" v="138"/>
          <ac:picMkLst>
            <pc:docMk/>
            <pc:sldMk cId="1595703888" sldId="2147474933"/>
            <ac:picMk id="2" creationId="{C481D445-F678-45A7-8CCB-BBEBA13CFF8F}"/>
          </ac:picMkLst>
        </pc:picChg>
        <pc:picChg chg="mod ord">
          <ac:chgData name="Dimitri Militschenko" userId="2698819e-f51f-4938-ae1b-875ffc6b70b6" providerId="ADAL" clId="{CE5F84DC-FB48-484E-960E-D50E0E4FED98}" dt="2023-03-07T10:17:54.405" v="145" actId="465"/>
          <ac:picMkLst>
            <pc:docMk/>
            <pc:sldMk cId="1595703888" sldId="2147474933"/>
            <ac:picMk id="9" creationId="{EAD6C100-6BD1-4360-9C0A-DEBF96B0272F}"/>
          </ac:picMkLst>
        </pc:picChg>
      </pc:sldChg>
      <pc:sldChg chg="modSp">
        <pc:chgData name="Dimitri Militschenko" userId="2698819e-f51f-4938-ae1b-875ffc6b70b6" providerId="ADAL" clId="{CE5F84DC-FB48-484E-960E-D50E0E4FED98}" dt="2023-03-07T11:17:57.030" v="4714" actId="113"/>
        <pc:sldMkLst>
          <pc:docMk/>
          <pc:sldMk cId="40899146" sldId="2147474934"/>
        </pc:sldMkLst>
        <pc:spChg chg="mod">
          <ac:chgData name="Dimitri Militschenko" userId="2698819e-f51f-4938-ae1b-875ffc6b70b6" providerId="ADAL" clId="{CE5F84DC-FB48-484E-960E-D50E0E4FED98}" dt="2023-03-07T11:17:57.030" v="4714" actId="113"/>
          <ac:spMkLst>
            <pc:docMk/>
            <pc:sldMk cId="40899146" sldId="2147474934"/>
            <ac:spMk id="7" creationId="{590103BA-0763-4FFE-A610-DEFAD9577D1C}"/>
          </ac:spMkLst>
        </pc:spChg>
        <pc:spChg chg="mod">
          <ac:chgData name="Dimitri Militschenko" userId="2698819e-f51f-4938-ae1b-875ffc6b70b6" providerId="ADAL" clId="{CE5F84DC-FB48-484E-960E-D50E0E4FED98}" dt="2023-03-07T10:13:33.971" v="108" actId="20577"/>
          <ac:spMkLst>
            <pc:docMk/>
            <pc:sldMk cId="40899146" sldId="2147474934"/>
            <ac:spMk id="10" creationId="{2EFFDFF4-342F-418C-A9AD-BDE15F52149D}"/>
          </ac:spMkLst>
        </pc:spChg>
        <pc:picChg chg="mod">
          <ac:chgData name="Dimitri Militschenko" userId="2698819e-f51f-4938-ae1b-875ffc6b70b6" providerId="ADAL" clId="{CE5F84DC-FB48-484E-960E-D50E0E4FED98}" dt="2023-03-07T10:11:47.480" v="36" actId="14826"/>
          <ac:picMkLst>
            <pc:docMk/>
            <pc:sldMk cId="40899146" sldId="2147474934"/>
            <ac:picMk id="16" creationId="{3EE9F52F-1812-4FA1-BCCF-92E137C8BD26}"/>
          </ac:picMkLst>
        </pc:picChg>
      </pc:sldChg>
      <pc:sldChg chg="addSp delSp modSp add">
        <pc:chgData name="Dimitri Militschenko" userId="2698819e-f51f-4938-ae1b-875ffc6b70b6" providerId="ADAL" clId="{CE5F84DC-FB48-484E-960E-D50E0E4FED98}" dt="2023-03-07T11:25:27.269" v="5009" actId="1076"/>
        <pc:sldMkLst>
          <pc:docMk/>
          <pc:sldMk cId="2397642829" sldId="2147474935"/>
        </pc:sldMkLst>
        <pc:spChg chg="del">
          <ac:chgData name="Dimitri Militschenko" userId="2698819e-f51f-4938-ae1b-875ffc6b70b6" providerId="ADAL" clId="{CE5F84DC-FB48-484E-960E-D50E0E4FED98}" dt="2023-03-07T11:21:44.539" v="4938" actId="478"/>
          <ac:spMkLst>
            <pc:docMk/>
            <pc:sldMk cId="2397642829" sldId="2147474935"/>
            <ac:spMk id="2" creationId="{3BDF313C-C1C2-4291-AE60-0DC76E4E3955}"/>
          </ac:spMkLst>
        </pc:spChg>
        <pc:spChg chg="del">
          <ac:chgData name="Dimitri Militschenko" userId="2698819e-f51f-4938-ae1b-875ffc6b70b6" providerId="ADAL" clId="{CE5F84DC-FB48-484E-960E-D50E0E4FED98}" dt="2023-03-07T11:21:45.820" v="4939" actId="478"/>
          <ac:spMkLst>
            <pc:docMk/>
            <pc:sldMk cId="2397642829" sldId="2147474935"/>
            <ac:spMk id="3" creationId="{084E6130-13E8-4F3B-BB43-E7A6949DCA36}"/>
          </ac:spMkLst>
        </pc:spChg>
        <pc:spChg chg="add mod">
          <ac:chgData name="Dimitri Militschenko" userId="2698819e-f51f-4938-ae1b-875ffc6b70b6" providerId="ADAL" clId="{CE5F84DC-FB48-484E-960E-D50E0E4FED98}" dt="2023-03-07T11:24:32.870" v="4999" actId="1076"/>
          <ac:spMkLst>
            <pc:docMk/>
            <pc:sldMk cId="2397642829" sldId="2147474935"/>
            <ac:spMk id="6" creationId="{D186B75E-DCD5-4541-93F3-4E1B904AC186}"/>
          </ac:spMkLst>
        </pc:spChg>
        <pc:spChg chg="add mod">
          <ac:chgData name="Dimitri Militschenko" userId="2698819e-f51f-4938-ae1b-875ffc6b70b6" providerId="ADAL" clId="{CE5F84DC-FB48-484E-960E-D50E0E4FED98}" dt="2023-03-07T11:25:08.132" v="5006" actId="1076"/>
          <ac:spMkLst>
            <pc:docMk/>
            <pc:sldMk cId="2397642829" sldId="2147474935"/>
            <ac:spMk id="7" creationId="{120D4CB7-9B3C-4841-87E9-2F02325CCE4D}"/>
          </ac:spMkLst>
        </pc:spChg>
        <pc:graphicFrameChg chg="add mod">
          <ac:chgData name="Dimitri Militschenko" userId="2698819e-f51f-4938-ae1b-875ffc6b70b6" providerId="ADAL" clId="{CE5F84DC-FB48-484E-960E-D50E0E4FED98}" dt="2023-03-07T11:21:46.587" v="4951"/>
          <ac:graphicFrameMkLst>
            <pc:docMk/>
            <pc:sldMk cId="2397642829" sldId="2147474935"/>
            <ac:graphicFrameMk id="4" creationId="{B069EC30-71A0-42DA-8FF3-BDDC8C9618CD}"/>
          </ac:graphicFrameMkLst>
        </pc:graphicFrameChg>
        <pc:picChg chg="add mod">
          <ac:chgData name="Dimitri Militschenko" userId="2698819e-f51f-4938-ae1b-875ffc6b70b6" providerId="ADAL" clId="{CE5F84DC-FB48-484E-960E-D50E0E4FED98}" dt="2023-03-07T11:21:54.605" v="4953" actId="1076"/>
          <ac:picMkLst>
            <pc:docMk/>
            <pc:sldMk cId="2397642829" sldId="2147474935"/>
            <ac:picMk id="5" creationId="{735F0E7A-E8DF-438A-91F8-265B98AE2E9D}"/>
          </ac:picMkLst>
        </pc:picChg>
        <pc:picChg chg="add del mod">
          <ac:chgData name="Dimitri Militschenko" userId="2698819e-f51f-4938-ae1b-875ffc6b70b6" providerId="ADAL" clId="{CE5F84DC-FB48-484E-960E-D50E0E4FED98}" dt="2023-03-07T11:24:01.266" v="4968" actId="478"/>
          <ac:picMkLst>
            <pc:docMk/>
            <pc:sldMk cId="2397642829" sldId="2147474935"/>
            <ac:picMk id="8" creationId="{16853F7B-A87C-4E25-9C7B-B52F24461563}"/>
          </ac:picMkLst>
        </pc:picChg>
        <pc:picChg chg="add mod">
          <ac:chgData name="Dimitri Militschenko" userId="2698819e-f51f-4938-ae1b-875ffc6b70b6" providerId="ADAL" clId="{CE5F84DC-FB48-484E-960E-D50E0E4FED98}" dt="2023-03-07T11:25:27.269" v="5009" actId="1076"/>
          <ac:picMkLst>
            <pc:docMk/>
            <pc:sldMk cId="2397642829" sldId="2147474935"/>
            <ac:picMk id="9" creationId="{F31C4063-79A7-48CE-8983-0C5E25BF6E5F}"/>
          </ac:picMkLst>
        </pc:picChg>
      </pc:sldChg>
    </pc:docChg>
  </pc:docChgLst>
  <pc:docChgLst>
    <pc:chgData name="Dimitri Militschenko" userId="2698819e-f51f-4938-ae1b-875ffc6b70b6" providerId="ADAL" clId="{5A3537E2-8375-48BC-BB1A-7126D922A377}"/>
    <pc:docChg chg="undo redo custSel modSld">
      <pc:chgData name="Dimitri Militschenko" userId="2698819e-f51f-4938-ae1b-875ffc6b70b6" providerId="ADAL" clId="{5A3537E2-8375-48BC-BB1A-7126D922A377}" dt="2023-05-09T11:59:02.425" v="674" actId="403"/>
      <pc:docMkLst>
        <pc:docMk/>
      </pc:docMkLst>
      <pc:sldChg chg="addSp delSp modSp">
        <pc:chgData name="Dimitri Militschenko" userId="2698819e-f51f-4938-ae1b-875ffc6b70b6" providerId="ADAL" clId="{5A3537E2-8375-48BC-BB1A-7126D922A377}" dt="2023-05-09T11:59:02.425" v="674" actId="403"/>
        <pc:sldMkLst>
          <pc:docMk/>
          <pc:sldMk cId="1886290154" sldId="260"/>
        </pc:sldMkLst>
        <pc:spChg chg="mod ord">
          <ac:chgData name="Dimitri Militschenko" userId="2698819e-f51f-4938-ae1b-875ffc6b70b6" providerId="ADAL" clId="{5A3537E2-8375-48BC-BB1A-7126D922A377}" dt="2023-05-09T11:50:31.986" v="512"/>
          <ac:spMkLst>
            <pc:docMk/>
            <pc:sldMk cId="1886290154" sldId="260"/>
            <ac:spMk id="4" creationId="{DE95C3E3-719D-4345-B914-4108A41722B1}"/>
          </ac:spMkLst>
        </pc:spChg>
        <pc:spChg chg="add del mod">
          <ac:chgData name="Dimitri Militschenko" userId="2698819e-f51f-4938-ae1b-875ffc6b70b6" providerId="ADAL" clId="{5A3537E2-8375-48BC-BB1A-7126D922A377}" dt="2023-05-09T11:54:14.181" v="578" actId="478"/>
          <ac:spMkLst>
            <pc:docMk/>
            <pc:sldMk cId="1886290154" sldId="260"/>
            <ac:spMk id="7" creationId="{8B18ACC2-0021-479B-9FA3-826B146C18F5}"/>
          </ac:spMkLst>
        </pc:spChg>
        <pc:spChg chg="mod ord">
          <ac:chgData name="Dimitri Militschenko" userId="2698819e-f51f-4938-ae1b-875ffc6b70b6" providerId="ADAL" clId="{5A3537E2-8375-48BC-BB1A-7126D922A377}" dt="2023-05-09T11:50:35.889" v="553" actId="1076"/>
          <ac:spMkLst>
            <pc:docMk/>
            <pc:sldMk cId="1886290154" sldId="260"/>
            <ac:spMk id="8" creationId="{B8C227EA-D214-4E6D-BEDF-22834850F220}"/>
          </ac:spMkLst>
        </pc:spChg>
        <pc:spChg chg="add mod">
          <ac:chgData name="Dimitri Militschenko" userId="2698819e-f51f-4938-ae1b-875ffc6b70b6" providerId="ADAL" clId="{5A3537E2-8375-48BC-BB1A-7126D922A377}" dt="2023-05-09T11:59:02.425" v="674" actId="403"/>
          <ac:spMkLst>
            <pc:docMk/>
            <pc:sldMk cId="1886290154" sldId="260"/>
            <ac:spMk id="9" creationId="{D68683CA-D747-4F72-855C-D100B6960514}"/>
          </ac:spMkLst>
        </pc:spChg>
        <pc:spChg chg="mod ord">
          <ac:chgData name="Dimitri Militschenko" userId="2698819e-f51f-4938-ae1b-875ffc6b70b6" providerId="ADAL" clId="{5A3537E2-8375-48BC-BB1A-7126D922A377}" dt="2023-05-09T11:50:39.941" v="554" actId="1076"/>
          <ac:spMkLst>
            <pc:docMk/>
            <pc:sldMk cId="1886290154" sldId="260"/>
            <ac:spMk id="22" creationId="{C8212638-18AA-4F5B-9630-5FD28D42FD24}"/>
          </ac:spMkLst>
        </pc:spChg>
        <pc:spChg chg="mod ord">
          <ac:chgData name="Dimitri Militschenko" userId="2698819e-f51f-4938-ae1b-875ffc6b70b6" providerId="ADAL" clId="{5A3537E2-8375-48BC-BB1A-7126D922A377}" dt="2023-05-09T11:50:31.987" v="522"/>
          <ac:spMkLst>
            <pc:docMk/>
            <pc:sldMk cId="1886290154" sldId="260"/>
            <ac:spMk id="23" creationId="{3105CBF0-4B1A-428F-BFAE-F0B87A93CAEF}"/>
          </ac:spMkLst>
        </pc:spChg>
        <pc:spChg chg="mod ord">
          <ac:chgData name="Dimitri Militschenko" userId="2698819e-f51f-4938-ae1b-875ffc6b70b6" providerId="ADAL" clId="{5A3537E2-8375-48BC-BB1A-7126D922A377}" dt="2023-05-09T11:50:31.988" v="524"/>
          <ac:spMkLst>
            <pc:docMk/>
            <pc:sldMk cId="1886290154" sldId="260"/>
            <ac:spMk id="24" creationId="{7209371D-5068-42F2-96C9-585E87003664}"/>
          </ac:spMkLst>
        </pc:spChg>
        <pc:spChg chg="mod ord">
          <ac:chgData name="Dimitri Militschenko" userId="2698819e-f51f-4938-ae1b-875ffc6b70b6" providerId="ADAL" clId="{5A3537E2-8375-48BC-BB1A-7126D922A377}" dt="2023-05-09T11:50:31.988" v="526"/>
          <ac:spMkLst>
            <pc:docMk/>
            <pc:sldMk cId="1886290154" sldId="260"/>
            <ac:spMk id="26" creationId="{9DFB2138-DADA-4130-853E-27DCC0204AD1}"/>
          </ac:spMkLst>
        </pc:spChg>
        <pc:spChg chg="mod ord">
          <ac:chgData name="Dimitri Militschenko" userId="2698819e-f51f-4938-ae1b-875ffc6b70b6" providerId="ADAL" clId="{5A3537E2-8375-48BC-BB1A-7126D922A377}" dt="2023-05-09T11:50:56.806" v="557" actId="1076"/>
          <ac:spMkLst>
            <pc:docMk/>
            <pc:sldMk cId="1886290154" sldId="260"/>
            <ac:spMk id="27" creationId="{4A7E5DF6-43C4-4B1E-9B74-85D0069B6441}"/>
          </ac:spMkLst>
        </pc:spChg>
        <pc:spChg chg="mod ord">
          <ac:chgData name="Dimitri Militschenko" userId="2698819e-f51f-4938-ae1b-875ffc6b70b6" providerId="ADAL" clId="{5A3537E2-8375-48BC-BB1A-7126D922A377}" dt="2023-05-09T11:50:31.987" v="514"/>
          <ac:spMkLst>
            <pc:docMk/>
            <pc:sldMk cId="1886290154" sldId="260"/>
            <ac:spMk id="30" creationId="{03B582E9-FDE3-4FDD-849B-1EA667694DBC}"/>
          </ac:spMkLst>
        </pc:spChg>
        <pc:spChg chg="mod ord">
          <ac:chgData name="Dimitri Militschenko" userId="2698819e-f51f-4938-ae1b-875ffc6b70b6" providerId="ADAL" clId="{5A3537E2-8375-48BC-BB1A-7126D922A377}" dt="2023-05-09T11:50:31.988" v="530"/>
          <ac:spMkLst>
            <pc:docMk/>
            <pc:sldMk cId="1886290154" sldId="260"/>
            <ac:spMk id="32" creationId="{9E25B8AD-F507-4E31-9DF6-2F7A478F068D}"/>
          </ac:spMkLst>
        </pc:spChg>
        <pc:spChg chg="mod ord">
          <ac:chgData name="Dimitri Militschenko" userId="2698819e-f51f-4938-ae1b-875ffc6b70b6" providerId="ADAL" clId="{5A3537E2-8375-48BC-BB1A-7126D922A377}" dt="2023-05-09T11:50:31.987" v="516"/>
          <ac:spMkLst>
            <pc:docMk/>
            <pc:sldMk cId="1886290154" sldId="260"/>
            <ac:spMk id="37" creationId="{C5017C0B-3E75-4CB7-B00C-A5A576FD91B3}"/>
          </ac:spMkLst>
        </pc:spChg>
        <pc:spChg chg="mod ord">
          <ac:chgData name="Dimitri Militschenko" userId="2698819e-f51f-4938-ae1b-875ffc6b70b6" providerId="ADAL" clId="{5A3537E2-8375-48BC-BB1A-7126D922A377}" dt="2023-05-09T11:50:31.988" v="532"/>
          <ac:spMkLst>
            <pc:docMk/>
            <pc:sldMk cId="1886290154" sldId="260"/>
            <ac:spMk id="38" creationId="{B7B4D921-2183-4BED-9657-452AA0DFAA60}"/>
          </ac:spMkLst>
        </pc:spChg>
        <pc:spChg chg="mod ord">
          <ac:chgData name="Dimitri Militschenko" userId="2698819e-f51f-4938-ae1b-875ffc6b70b6" providerId="ADAL" clId="{5A3537E2-8375-48BC-BB1A-7126D922A377}" dt="2023-05-09T11:50:31.989" v="534"/>
          <ac:spMkLst>
            <pc:docMk/>
            <pc:sldMk cId="1886290154" sldId="260"/>
            <ac:spMk id="39" creationId="{166FACCC-07EB-4F83-9A4C-B0A703841347}"/>
          </ac:spMkLst>
        </pc:spChg>
        <pc:spChg chg="mod ord">
          <ac:chgData name="Dimitri Militschenko" userId="2698819e-f51f-4938-ae1b-875ffc6b70b6" providerId="ADAL" clId="{5A3537E2-8375-48BC-BB1A-7126D922A377}" dt="2023-05-09T11:50:31.989" v="536"/>
          <ac:spMkLst>
            <pc:docMk/>
            <pc:sldMk cId="1886290154" sldId="260"/>
            <ac:spMk id="40" creationId="{ED494EC8-0FBC-46AD-BCB6-AFE8A955C729}"/>
          </ac:spMkLst>
        </pc:spChg>
        <pc:spChg chg="mod ord">
          <ac:chgData name="Dimitri Militschenko" userId="2698819e-f51f-4938-ae1b-875ffc6b70b6" providerId="ADAL" clId="{5A3537E2-8375-48BC-BB1A-7126D922A377}" dt="2023-05-09T11:51:07.619" v="559" actId="1076"/>
          <ac:spMkLst>
            <pc:docMk/>
            <pc:sldMk cId="1886290154" sldId="260"/>
            <ac:spMk id="41" creationId="{3F83A9FC-DF2D-4D23-93CB-6CA04A6ADA28}"/>
          </ac:spMkLst>
        </pc:spChg>
        <pc:spChg chg="mod ord">
          <ac:chgData name="Dimitri Militschenko" userId="2698819e-f51f-4938-ae1b-875ffc6b70b6" providerId="ADAL" clId="{5A3537E2-8375-48BC-BB1A-7126D922A377}" dt="2023-05-09T11:58:13.374" v="667" actId="1076"/>
          <ac:spMkLst>
            <pc:docMk/>
            <pc:sldMk cId="1886290154" sldId="260"/>
            <ac:spMk id="42" creationId="{D3089898-E62F-4125-A023-B9805F69DA5A}"/>
          </ac:spMkLst>
        </pc:spChg>
        <pc:spChg chg="mod ord">
          <ac:chgData name="Dimitri Militschenko" userId="2698819e-f51f-4938-ae1b-875ffc6b70b6" providerId="ADAL" clId="{5A3537E2-8375-48BC-BB1A-7126D922A377}" dt="2023-05-09T11:51:03.983" v="558" actId="1076"/>
          <ac:spMkLst>
            <pc:docMk/>
            <pc:sldMk cId="1886290154" sldId="260"/>
            <ac:spMk id="43" creationId="{9292B92A-4C0F-44A0-B5DE-31FAF79B6EE5}"/>
          </ac:spMkLst>
        </pc:spChg>
        <pc:spChg chg="mod ord">
          <ac:chgData name="Dimitri Militschenko" userId="2698819e-f51f-4938-ae1b-875ffc6b70b6" providerId="ADAL" clId="{5A3537E2-8375-48BC-BB1A-7126D922A377}" dt="2023-05-09T11:50:31.990" v="544"/>
          <ac:spMkLst>
            <pc:docMk/>
            <pc:sldMk cId="1886290154" sldId="260"/>
            <ac:spMk id="44" creationId="{F9271F09-4292-4BD7-B094-CB404D4B7CAE}"/>
          </ac:spMkLst>
        </pc:spChg>
        <pc:spChg chg="mod ord">
          <ac:chgData name="Dimitri Militschenko" userId="2698819e-f51f-4938-ae1b-875ffc6b70b6" providerId="ADAL" clId="{5A3537E2-8375-48BC-BB1A-7126D922A377}" dt="2023-05-09T11:50:31.990" v="546"/>
          <ac:spMkLst>
            <pc:docMk/>
            <pc:sldMk cId="1886290154" sldId="260"/>
            <ac:spMk id="45" creationId="{EA7DE4DF-0FC4-4F5E-ADF4-2D8690A4A94D}"/>
          </ac:spMkLst>
        </pc:spChg>
        <pc:spChg chg="mod ord">
          <ac:chgData name="Dimitri Militschenko" userId="2698819e-f51f-4938-ae1b-875ffc6b70b6" providerId="ADAL" clId="{5A3537E2-8375-48BC-BB1A-7126D922A377}" dt="2023-05-09T11:50:31.990" v="548"/>
          <ac:spMkLst>
            <pc:docMk/>
            <pc:sldMk cId="1886290154" sldId="260"/>
            <ac:spMk id="46" creationId="{2C7E8629-CD56-4427-A980-AAF2CF67F16E}"/>
          </ac:spMkLst>
        </pc:spChg>
        <pc:spChg chg="mod ord">
          <ac:chgData name="Dimitri Militschenko" userId="2698819e-f51f-4938-ae1b-875ffc6b70b6" providerId="ADAL" clId="{5A3537E2-8375-48BC-BB1A-7126D922A377}" dt="2023-05-09T11:50:31.990" v="550"/>
          <ac:spMkLst>
            <pc:docMk/>
            <pc:sldMk cId="1886290154" sldId="260"/>
            <ac:spMk id="47" creationId="{BA787FBC-8B4A-4B6D-8B47-8C8B40F989F0}"/>
          </ac:spMkLst>
        </pc:spChg>
        <pc:grpChg chg="add mod">
          <ac:chgData name="Dimitri Militschenko" userId="2698819e-f51f-4938-ae1b-875ffc6b70b6" providerId="ADAL" clId="{5A3537E2-8375-48BC-BB1A-7126D922A377}" dt="2023-05-09T11:58:34.137" v="671" actId="164"/>
          <ac:grpSpMkLst>
            <pc:docMk/>
            <pc:sldMk cId="1886290154" sldId="260"/>
            <ac:grpSpMk id="10" creationId="{6F91A529-59E0-4C38-B6BD-A58C12BF622E}"/>
          </ac:grpSpMkLst>
        </pc:grpChg>
        <pc:graphicFrameChg chg="mod">
          <ac:chgData name="Dimitri Militschenko" userId="2698819e-f51f-4938-ae1b-875ffc6b70b6" providerId="ADAL" clId="{5A3537E2-8375-48BC-BB1A-7126D922A377}" dt="2023-05-09T11:50:31.991" v="552"/>
          <ac:graphicFrameMkLst>
            <pc:docMk/>
            <pc:sldMk cId="1886290154" sldId="260"/>
            <ac:graphicFrameMk id="5" creationId="{C92DCF4D-4BF7-44C5-9D27-02C57DD3D07C}"/>
          </ac:graphicFrameMkLst>
        </pc:graphicFrameChg>
        <pc:picChg chg="add del mod">
          <ac:chgData name="Dimitri Militschenko" userId="2698819e-f51f-4938-ae1b-875ffc6b70b6" providerId="ADAL" clId="{5A3537E2-8375-48BC-BB1A-7126D922A377}" dt="2023-05-09T11:53:06.907" v="566" actId="478"/>
          <ac:picMkLst>
            <pc:docMk/>
            <pc:sldMk cId="1886290154" sldId="260"/>
            <ac:picMk id="2" creationId="{9207CB11-FEE8-4550-95E9-754ABF67DA64}"/>
          </ac:picMkLst>
        </pc:picChg>
        <pc:picChg chg="add del mod">
          <ac:chgData name="Dimitri Militschenko" userId="2698819e-f51f-4938-ae1b-875ffc6b70b6" providerId="ADAL" clId="{5A3537E2-8375-48BC-BB1A-7126D922A377}" dt="2023-05-09T11:57:41.930" v="661" actId="478"/>
          <ac:picMkLst>
            <pc:docMk/>
            <pc:sldMk cId="1886290154" sldId="260"/>
            <ac:picMk id="3" creationId="{2B87A2BA-C1C1-46A9-A942-1AAB9DB1B6D2}"/>
          </ac:picMkLst>
        </pc:picChg>
        <pc:picChg chg="add del mod">
          <ac:chgData name="Dimitri Militschenko" userId="2698819e-f51f-4938-ae1b-875ffc6b70b6" providerId="ADAL" clId="{5A3537E2-8375-48BC-BB1A-7126D922A377}" dt="2023-05-09T11:50:27.305" v="507" actId="478"/>
          <ac:picMkLst>
            <pc:docMk/>
            <pc:sldMk cId="1886290154" sldId="260"/>
            <ac:picMk id="6" creationId="{EAC58450-8C7C-46FE-B3A1-2AF946881B83}"/>
          </ac:picMkLst>
        </pc:picChg>
        <pc:picChg chg="add mod ord">
          <ac:chgData name="Dimitri Militschenko" userId="2698819e-f51f-4938-ae1b-875ffc6b70b6" providerId="ADAL" clId="{5A3537E2-8375-48BC-BB1A-7126D922A377}" dt="2023-05-09T11:58:34.137" v="671" actId="164"/>
          <ac:picMkLst>
            <pc:docMk/>
            <pc:sldMk cId="1886290154" sldId="260"/>
            <ac:picMk id="7171" creationId="{54B5580A-38AB-4D39-A611-E53152AC6BDF}"/>
          </ac:picMkLst>
        </pc:picChg>
      </pc:sldChg>
      <pc:sldChg chg="addSp delSp modSp">
        <pc:chgData name="Dimitri Militschenko" userId="2698819e-f51f-4938-ae1b-875ffc6b70b6" providerId="ADAL" clId="{5A3537E2-8375-48BC-BB1A-7126D922A377}" dt="2023-05-09T10:31:29.850" v="232"/>
        <pc:sldMkLst>
          <pc:docMk/>
          <pc:sldMk cId="2389000172" sldId="266"/>
        </pc:sldMkLst>
        <pc:spChg chg="mod">
          <ac:chgData name="Dimitri Militschenko" userId="2698819e-f51f-4938-ae1b-875ffc6b70b6" providerId="ADAL" clId="{5A3537E2-8375-48BC-BB1A-7126D922A377}" dt="2023-05-09T10:31:29.768" v="147" actId="948"/>
          <ac:spMkLst>
            <pc:docMk/>
            <pc:sldMk cId="2389000172" sldId="266"/>
            <ac:spMk id="3" creationId="{843EC4F4-91B5-492D-B43E-B1C2126FDC8B}"/>
          </ac:spMkLst>
        </pc:spChg>
        <pc:spChg chg="mod">
          <ac:chgData name="Dimitri Militschenko" userId="2698819e-f51f-4938-ae1b-875ffc6b70b6" providerId="ADAL" clId="{5A3537E2-8375-48BC-BB1A-7126D922A377}" dt="2023-05-09T10:31:29.226" v="146" actId="790"/>
          <ac:spMkLst>
            <pc:docMk/>
            <pc:sldMk cId="2389000172" sldId="266"/>
            <ac:spMk id="5" creationId="{55DAFE5B-36C1-4E8E-86EE-BBE9C83A89C1}"/>
          </ac:spMkLst>
        </pc:spChg>
        <pc:spChg chg="add del mod">
          <ac:chgData name="Dimitri Militschenko" userId="2698819e-f51f-4938-ae1b-875ffc6b70b6" providerId="ADAL" clId="{5A3537E2-8375-48BC-BB1A-7126D922A377}" dt="2023-05-09T10:31:29.840" v="230"/>
          <ac:spMkLst>
            <pc:docMk/>
            <pc:sldMk cId="2389000172" sldId="266"/>
            <ac:spMk id="6" creationId="{A1A0FF1F-7C4E-4985-874A-85532B7D183F}"/>
          </ac:spMkLst>
        </pc:spChg>
        <pc:graphicFrameChg chg="mod">
          <ac:chgData name="Dimitri Militschenko" userId="2698819e-f51f-4938-ae1b-875ffc6b70b6" providerId="ADAL" clId="{5A3537E2-8375-48BC-BB1A-7126D922A377}" dt="2023-05-09T10:31:29.850" v="232"/>
          <ac:graphicFrameMkLst>
            <pc:docMk/>
            <pc:sldMk cId="2389000172" sldId="266"/>
            <ac:graphicFrameMk id="7" creationId="{86CC1DF6-00DD-4FBE-B9CB-B5D097381298}"/>
          </ac:graphicFrameMkLst>
        </pc:graphicFrameChg>
        <pc:picChg chg="mod">
          <ac:chgData name="Dimitri Militschenko" userId="2698819e-f51f-4938-ae1b-875ffc6b70b6" providerId="ADAL" clId="{5A3537E2-8375-48BC-BB1A-7126D922A377}" dt="2023-05-09T10:31:08.571" v="120" actId="14826"/>
          <ac:picMkLst>
            <pc:docMk/>
            <pc:sldMk cId="2389000172" sldId="266"/>
            <ac:picMk id="4" creationId="{697B4DFD-F9F9-4A83-ABA8-8D814ADAA84C}"/>
          </ac:picMkLst>
        </pc:picChg>
      </pc:sldChg>
      <pc:sldChg chg="modSp">
        <pc:chgData name="Dimitri Militschenko" userId="2698819e-f51f-4938-ae1b-875ffc6b70b6" providerId="ADAL" clId="{5A3537E2-8375-48BC-BB1A-7126D922A377}" dt="2023-05-05T14:57:56.356" v="97" actId="1076"/>
        <pc:sldMkLst>
          <pc:docMk/>
          <pc:sldMk cId="1325671312" sldId="267"/>
        </pc:sldMkLst>
        <pc:spChg chg="mod">
          <ac:chgData name="Dimitri Militschenko" userId="2698819e-f51f-4938-ae1b-875ffc6b70b6" providerId="ADAL" clId="{5A3537E2-8375-48BC-BB1A-7126D922A377}" dt="2023-05-05T14:57:56.356" v="97" actId="1076"/>
          <ac:spMkLst>
            <pc:docMk/>
            <pc:sldMk cId="1325671312" sldId="267"/>
            <ac:spMk id="10" creationId="{91163916-DCFC-49C1-BEEE-6C87030502C2}"/>
          </ac:spMkLst>
        </pc:spChg>
        <pc:spChg chg="mod">
          <ac:chgData name="Dimitri Militschenko" userId="2698819e-f51f-4938-ae1b-875ffc6b70b6" providerId="ADAL" clId="{5A3537E2-8375-48BC-BB1A-7126D922A377}" dt="2023-05-05T14:57:51.758" v="96" actId="1076"/>
          <ac:spMkLst>
            <pc:docMk/>
            <pc:sldMk cId="1325671312" sldId="267"/>
            <ac:spMk id="12" creationId="{A4C187FB-BF2A-42E9-8046-2E55810EA5FE}"/>
          </ac:spMkLst>
        </pc:spChg>
        <pc:picChg chg="mod">
          <ac:chgData name="Dimitri Militschenko" userId="2698819e-f51f-4938-ae1b-875ffc6b70b6" providerId="ADAL" clId="{5A3537E2-8375-48BC-BB1A-7126D922A377}" dt="2023-05-05T14:57:39.543" v="92" actId="14826"/>
          <ac:picMkLst>
            <pc:docMk/>
            <pc:sldMk cId="1325671312" sldId="267"/>
            <ac:picMk id="4" creationId="{E5DB18C1-FF95-4085-A97E-89EC374C183C}"/>
          </ac:picMkLst>
        </pc:picChg>
      </pc:sldChg>
      <pc:sldChg chg="delSp modSp">
        <pc:chgData name="Dimitri Militschenko" userId="2698819e-f51f-4938-ae1b-875ffc6b70b6" providerId="ADAL" clId="{5A3537E2-8375-48BC-BB1A-7126D922A377}" dt="2023-05-05T14:59:42.750" v="111" actId="1076"/>
        <pc:sldMkLst>
          <pc:docMk/>
          <pc:sldMk cId="3857656806" sldId="268"/>
        </pc:sldMkLst>
        <pc:spChg chg="mod">
          <ac:chgData name="Dimitri Militschenko" userId="2698819e-f51f-4938-ae1b-875ffc6b70b6" providerId="ADAL" clId="{5A3537E2-8375-48BC-BB1A-7126D922A377}" dt="2023-05-05T14:59:42.750" v="111" actId="1076"/>
          <ac:spMkLst>
            <pc:docMk/>
            <pc:sldMk cId="3857656806" sldId="268"/>
            <ac:spMk id="6" creationId="{F022083A-F44D-4E35-8C00-90028792AB02}"/>
          </ac:spMkLst>
        </pc:spChg>
        <pc:picChg chg="mod">
          <ac:chgData name="Dimitri Militschenko" userId="2698819e-f51f-4938-ae1b-875ffc6b70b6" providerId="ADAL" clId="{5A3537E2-8375-48BC-BB1A-7126D922A377}" dt="2023-05-05T14:59:32.753" v="110" actId="1076"/>
          <ac:picMkLst>
            <pc:docMk/>
            <pc:sldMk cId="3857656806" sldId="268"/>
            <ac:picMk id="5" creationId="{F7CDB726-8FD1-45A1-BC5E-5AECFDDD5C3D}"/>
          </ac:picMkLst>
        </pc:picChg>
        <pc:picChg chg="del mod">
          <ac:chgData name="Dimitri Militschenko" userId="2698819e-f51f-4938-ae1b-875ffc6b70b6" providerId="ADAL" clId="{5A3537E2-8375-48BC-BB1A-7126D922A377}" dt="2023-05-05T14:59:07.118" v="103" actId="478"/>
          <ac:picMkLst>
            <pc:docMk/>
            <pc:sldMk cId="3857656806" sldId="268"/>
            <ac:picMk id="8" creationId="{29F79384-8FC9-4F77-9847-6CB8C6076C52}"/>
          </ac:picMkLst>
        </pc:picChg>
      </pc:sldChg>
    </pc:docChg>
  </pc:docChgLst>
  <pc:docChgLst>
    <pc:chgData name="Dimitri Militschenko" userId="2698819e-f51f-4938-ae1b-875ffc6b70b6" providerId="ADAL" clId="{D950206C-2C28-466C-980B-5E1C820A35A3}"/>
    <pc:docChg chg="undo redo custSel addSld delSld modSld replTag">
      <pc:chgData name="Dimitri Militschenko" userId="2698819e-f51f-4938-ae1b-875ffc6b70b6" providerId="ADAL" clId="{D950206C-2C28-466C-980B-5E1C820A35A3}" dt="2024-05-23T09:45:31.973" v="1369" actId="47"/>
      <pc:docMkLst>
        <pc:docMk/>
      </pc:docMkLst>
      <pc:sldChg chg="addSp delSp modSp mod">
        <pc:chgData name="Dimitri Militschenko" userId="2698819e-f51f-4938-ae1b-875ffc6b70b6" providerId="ADAL" clId="{D950206C-2C28-466C-980B-5E1C820A35A3}" dt="2024-05-17T17:08:18.284" v="1140" actId="20577"/>
        <pc:sldMkLst>
          <pc:docMk/>
          <pc:sldMk cId="1886290154" sldId="260"/>
        </pc:sldMkLst>
        <pc:spChg chg="mod ord">
          <ac:chgData name="Dimitri Militschenko" userId="2698819e-f51f-4938-ae1b-875ffc6b70b6" providerId="ADAL" clId="{D950206C-2C28-466C-980B-5E1C820A35A3}" dt="2024-05-17T17:08:18.284" v="1140" actId="20577"/>
          <ac:spMkLst>
            <pc:docMk/>
            <pc:sldMk cId="1886290154" sldId="260"/>
            <ac:spMk id="4" creationId="{DE95C3E3-719D-4345-B914-4108A41722B1}"/>
          </ac:spMkLst>
        </pc:spChg>
        <pc:spChg chg="mod ord">
          <ac:chgData name="Dimitri Militschenko" userId="2698819e-f51f-4938-ae1b-875ffc6b70b6" providerId="ADAL" clId="{D950206C-2C28-466C-980B-5E1C820A35A3}" dt="2024-05-15T17:04:02.668" v="224" actId="1076"/>
          <ac:spMkLst>
            <pc:docMk/>
            <pc:sldMk cId="1886290154" sldId="260"/>
            <ac:spMk id="8" creationId="{B8C227EA-D214-4E6D-BEDF-22834850F220}"/>
          </ac:spMkLst>
        </pc:spChg>
        <pc:spChg chg="mod ord">
          <ac:chgData name="Dimitri Militschenko" userId="2698819e-f51f-4938-ae1b-875ffc6b70b6" providerId="ADAL" clId="{D950206C-2C28-466C-980B-5E1C820A35A3}" dt="2024-05-15T17:01:31.073" v="192" actId="14100"/>
          <ac:spMkLst>
            <pc:docMk/>
            <pc:sldMk cId="1886290154" sldId="260"/>
            <ac:spMk id="9" creationId="{D68683CA-D747-4F72-855C-D100B6960514}"/>
          </ac:spMkLst>
        </pc:spChg>
        <pc:spChg chg="mod ord">
          <ac:chgData name="Dimitri Militschenko" userId="2698819e-f51f-4938-ae1b-875ffc6b70b6" providerId="ADAL" clId="{D950206C-2C28-466C-980B-5E1C820A35A3}" dt="2024-05-15T17:02:19.404" v="196" actId="554"/>
          <ac:spMkLst>
            <pc:docMk/>
            <pc:sldMk cId="1886290154" sldId="260"/>
            <ac:spMk id="22" creationId="{C8212638-18AA-4F5B-9630-5FD28D42FD24}"/>
          </ac:spMkLst>
        </pc:spChg>
        <pc:spChg chg="mod ord">
          <ac:chgData name="Dimitri Militschenko" userId="2698819e-f51f-4938-ae1b-875ffc6b70b6" providerId="ADAL" clId="{D950206C-2C28-466C-980B-5E1C820A35A3}" dt="2024-05-15T17:03:39.590" v="222" actId="1076"/>
          <ac:spMkLst>
            <pc:docMk/>
            <pc:sldMk cId="1886290154" sldId="260"/>
            <ac:spMk id="23" creationId="{3105CBF0-4B1A-428F-BFAE-F0B87A93CAEF}"/>
          </ac:spMkLst>
        </pc:spChg>
        <pc:spChg chg="mod ord">
          <ac:chgData name="Dimitri Militschenko" userId="2698819e-f51f-4938-ae1b-875ffc6b70b6" providerId="ADAL" clId="{D950206C-2C28-466C-980B-5E1C820A35A3}" dt="2024-05-15T17:03:39.590" v="222" actId="1076"/>
          <ac:spMkLst>
            <pc:docMk/>
            <pc:sldMk cId="1886290154" sldId="260"/>
            <ac:spMk id="24" creationId="{7209371D-5068-42F2-96C9-585E87003664}"/>
          </ac:spMkLst>
        </pc:spChg>
        <pc:spChg chg="mod ord">
          <ac:chgData name="Dimitri Militschenko" userId="2698819e-f51f-4938-ae1b-875ffc6b70b6" providerId="ADAL" clId="{D950206C-2C28-466C-980B-5E1C820A35A3}" dt="2024-05-15T17:03:39.590" v="222" actId="1076"/>
          <ac:spMkLst>
            <pc:docMk/>
            <pc:sldMk cId="1886290154" sldId="260"/>
            <ac:spMk id="26" creationId="{9DFB2138-DADA-4130-853E-27DCC0204AD1}"/>
          </ac:spMkLst>
        </pc:spChg>
        <pc:spChg chg="del">
          <ac:chgData name="Dimitri Militschenko" userId="2698819e-f51f-4938-ae1b-875ffc6b70b6" providerId="ADAL" clId="{D950206C-2C28-466C-980B-5E1C820A35A3}" dt="2024-05-15T16:58:31.630" v="97" actId="478"/>
          <ac:spMkLst>
            <pc:docMk/>
            <pc:sldMk cId="1886290154" sldId="260"/>
            <ac:spMk id="27" creationId="{4A7E5DF6-43C4-4B1E-9B74-85D0069B6441}"/>
          </ac:spMkLst>
        </pc:spChg>
        <pc:spChg chg="mod ord">
          <ac:chgData name="Dimitri Militschenko" userId="2698819e-f51f-4938-ae1b-875ffc6b70b6" providerId="ADAL" clId="{D950206C-2C28-466C-980B-5E1C820A35A3}" dt="2024-05-15T17:03:39.590" v="222" actId="1076"/>
          <ac:spMkLst>
            <pc:docMk/>
            <pc:sldMk cId="1886290154" sldId="260"/>
            <ac:spMk id="30" creationId="{03B582E9-FDE3-4FDD-849B-1EA667694DBC}"/>
          </ac:spMkLst>
        </pc:spChg>
        <pc:spChg chg="mod ord">
          <ac:chgData name="Dimitri Militschenko" userId="2698819e-f51f-4938-ae1b-875ffc6b70b6" providerId="ADAL" clId="{D950206C-2C28-466C-980B-5E1C820A35A3}" dt="2024-05-15T17:03:33.773" v="221" actId="1076"/>
          <ac:spMkLst>
            <pc:docMk/>
            <pc:sldMk cId="1886290154" sldId="260"/>
            <ac:spMk id="32" creationId="{9E25B8AD-F507-4E31-9DF6-2F7A478F068D}"/>
          </ac:spMkLst>
        </pc:spChg>
        <pc:spChg chg="mod ord">
          <ac:chgData name="Dimitri Militschenko" userId="2698819e-f51f-4938-ae1b-875ffc6b70b6" providerId="ADAL" clId="{D950206C-2C28-466C-980B-5E1C820A35A3}" dt="2024-05-15T17:00:55.767" v="148"/>
          <ac:spMkLst>
            <pc:docMk/>
            <pc:sldMk cId="1886290154" sldId="260"/>
            <ac:spMk id="37" creationId="{C5017C0B-3E75-4CB7-B00C-A5A576FD91B3}"/>
          </ac:spMkLst>
        </pc:spChg>
        <pc:spChg chg="mod ord">
          <ac:chgData name="Dimitri Militschenko" userId="2698819e-f51f-4938-ae1b-875ffc6b70b6" providerId="ADAL" clId="{D950206C-2C28-466C-980B-5E1C820A35A3}" dt="2024-05-15T17:03:33.773" v="221" actId="1076"/>
          <ac:spMkLst>
            <pc:docMk/>
            <pc:sldMk cId="1886290154" sldId="260"/>
            <ac:spMk id="38" creationId="{B7B4D921-2183-4BED-9657-452AA0DFAA60}"/>
          </ac:spMkLst>
        </pc:spChg>
        <pc:spChg chg="del">
          <ac:chgData name="Dimitri Militschenko" userId="2698819e-f51f-4938-ae1b-875ffc6b70b6" providerId="ADAL" clId="{D950206C-2C28-466C-980B-5E1C820A35A3}" dt="2024-05-15T16:57:52.859" v="94" actId="478"/>
          <ac:spMkLst>
            <pc:docMk/>
            <pc:sldMk cId="1886290154" sldId="260"/>
            <ac:spMk id="39" creationId="{166FACCC-07EB-4F83-9A4C-B0A703841347}"/>
          </ac:spMkLst>
        </pc:spChg>
        <pc:spChg chg="del">
          <ac:chgData name="Dimitri Militschenko" userId="2698819e-f51f-4938-ae1b-875ffc6b70b6" providerId="ADAL" clId="{D950206C-2C28-466C-980B-5E1C820A35A3}" dt="2024-05-15T16:57:45.677" v="92" actId="478"/>
          <ac:spMkLst>
            <pc:docMk/>
            <pc:sldMk cId="1886290154" sldId="260"/>
            <ac:spMk id="40" creationId="{ED494EC8-0FBC-46AD-BCB6-AFE8A955C729}"/>
          </ac:spMkLst>
        </pc:spChg>
        <pc:spChg chg="del mod ord">
          <ac:chgData name="Dimitri Militschenko" userId="2698819e-f51f-4938-ae1b-875ffc6b70b6" providerId="ADAL" clId="{D950206C-2C28-466C-980B-5E1C820A35A3}" dt="2024-05-15T17:02:40.358" v="197" actId="478"/>
          <ac:spMkLst>
            <pc:docMk/>
            <pc:sldMk cId="1886290154" sldId="260"/>
            <ac:spMk id="41" creationId="{3F83A9FC-DF2D-4D23-93CB-6CA04A6ADA28}"/>
          </ac:spMkLst>
        </pc:spChg>
        <pc:spChg chg="mod ord">
          <ac:chgData name="Dimitri Militschenko" userId="2698819e-f51f-4938-ae1b-875ffc6b70b6" providerId="ADAL" clId="{D950206C-2C28-466C-980B-5E1C820A35A3}" dt="2024-05-15T17:02:19.404" v="196" actId="554"/>
          <ac:spMkLst>
            <pc:docMk/>
            <pc:sldMk cId="1886290154" sldId="260"/>
            <ac:spMk id="42" creationId="{D3089898-E62F-4125-A023-B9805F69DA5A}"/>
          </ac:spMkLst>
        </pc:spChg>
        <pc:spChg chg="mod ord">
          <ac:chgData name="Dimitri Militschenko" userId="2698819e-f51f-4938-ae1b-875ffc6b70b6" providerId="ADAL" clId="{D950206C-2C28-466C-980B-5E1C820A35A3}" dt="2024-05-15T17:02:54.140" v="200" actId="1076"/>
          <ac:spMkLst>
            <pc:docMk/>
            <pc:sldMk cId="1886290154" sldId="260"/>
            <ac:spMk id="43" creationId="{9292B92A-4C0F-44A0-B5DE-31FAF79B6EE5}"/>
          </ac:spMkLst>
        </pc:spChg>
        <pc:spChg chg="del">
          <ac:chgData name="Dimitri Militschenko" userId="2698819e-f51f-4938-ae1b-875ffc6b70b6" providerId="ADAL" clId="{D950206C-2C28-466C-980B-5E1C820A35A3}" dt="2024-05-15T16:57:45.677" v="92" actId="478"/>
          <ac:spMkLst>
            <pc:docMk/>
            <pc:sldMk cId="1886290154" sldId="260"/>
            <ac:spMk id="44" creationId="{F9271F09-4292-4BD7-B094-CB404D4B7CAE}"/>
          </ac:spMkLst>
        </pc:spChg>
        <pc:spChg chg="del">
          <ac:chgData name="Dimitri Militschenko" userId="2698819e-f51f-4938-ae1b-875ffc6b70b6" providerId="ADAL" clId="{D950206C-2C28-466C-980B-5E1C820A35A3}" dt="2024-05-15T16:57:50.769" v="93" actId="478"/>
          <ac:spMkLst>
            <pc:docMk/>
            <pc:sldMk cId="1886290154" sldId="260"/>
            <ac:spMk id="45" creationId="{EA7DE4DF-0FC4-4F5E-ADF4-2D8690A4A94D}"/>
          </ac:spMkLst>
        </pc:spChg>
        <pc:spChg chg="mod ord">
          <ac:chgData name="Dimitri Militschenko" userId="2698819e-f51f-4938-ae1b-875ffc6b70b6" providerId="ADAL" clId="{D950206C-2C28-466C-980B-5E1C820A35A3}" dt="2024-05-15T17:03:33.773" v="221" actId="1076"/>
          <ac:spMkLst>
            <pc:docMk/>
            <pc:sldMk cId="1886290154" sldId="260"/>
            <ac:spMk id="46" creationId="{2C7E8629-CD56-4427-A980-AAF2CF67F16E}"/>
          </ac:spMkLst>
        </pc:spChg>
        <pc:spChg chg="mod ord">
          <ac:chgData name="Dimitri Militschenko" userId="2698819e-f51f-4938-ae1b-875ffc6b70b6" providerId="ADAL" clId="{D950206C-2C28-466C-980B-5E1C820A35A3}" dt="2024-05-15T17:03:33.773" v="221" actId="1076"/>
          <ac:spMkLst>
            <pc:docMk/>
            <pc:sldMk cId="1886290154" sldId="260"/>
            <ac:spMk id="47" creationId="{BA787FBC-8B4A-4B6D-8B47-8C8B40F989F0}"/>
          </ac:spMkLst>
        </pc:spChg>
        <pc:graphicFrameChg chg="mod">
          <ac:chgData name="Dimitri Militschenko" userId="2698819e-f51f-4938-ae1b-875ffc6b70b6" providerId="ADAL" clId="{D950206C-2C28-466C-980B-5E1C820A35A3}" dt="2024-05-15T17:00:55.775" v="180"/>
          <ac:graphicFrameMkLst>
            <pc:docMk/>
            <pc:sldMk cId="1886290154" sldId="260"/>
            <ac:graphicFrameMk id="5" creationId="{C92DCF4D-4BF7-44C5-9D27-02C57DD3D07C}"/>
          </ac:graphicFrameMkLst>
        </pc:graphicFrameChg>
        <pc:picChg chg="add mod ord">
          <ac:chgData name="Dimitri Militschenko" userId="2698819e-f51f-4938-ae1b-875ffc6b70b6" providerId="ADAL" clId="{D950206C-2C28-466C-980B-5E1C820A35A3}" dt="2024-05-15T17:00:55.770" v="164"/>
          <ac:picMkLst>
            <pc:docMk/>
            <pc:sldMk cId="1886290154" sldId="260"/>
            <ac:picMk id="3" creationId="{0FF23189-20BE-CD98-D06A-163C2260BCD0}"/>
          </ac:picMkLst>
        </pc:picChg>
        <pc:picChg chg="del">
          <ac:chgData name="Dimitri Militschenko" userId="2698819e-f51f-4938-ae1b-875ffc6b70b6" providerId="ADAL" clId="{D950206C-2C28-466C-980B-5E1C820A35A3}" dt="2024-05-15T17:00:34.525" v="101" actId="478"/>
          <ac:picMkLst>
            <pc:docMk/>
            <pc:sldMk cId="1886290154" sldId="260"/>
            <ac:picMk id="7171" creationId="{54B5580A-38AB-4D39-A611-E53152AC6BDF}"/>
          </ac:picMkLst>
        </pc:picChg>
      </pc:sldChg>
      <pc:sldChg chg="addSp delSp modSp mod">
        <pc:chgData name="Dimitri Militschenko" userId="2698819e-f51f-4938-ae1b-875ffc6b70b6" providerId="ADAL" clId="{D950206C-2C28-466C-980B-5E1C820A35A3}" dt="2024-05-17T17:12:37.702" v="1142" actId="2711"/>
        <pc:sldMkLst>
          <pc:docMk/>
          <pc:sldMk cId="2389000172" sldId="266"/>
        </pc:sldMkLst>
        <pc:spChg chg="mod">
          <ac:chgData name="Dimitri Militschenko" userId="2698819e-f51f-4938-ae1b-875ffc6b70b6" providerId="ADAL" clId="{D950206C-2C28-466C-980B-5E1C820A35A3}" dt="2024-05-15T17:08:07.079" v="989" actId="948"/>
          <ac:spMkLst>
            <pc:docMk/>
            <pc:sldMk cId="2389000172" sldId="266"/>
            <ac:spMk id="3" creationId="{843EC4F4-91B5-492D-B43E-B1C2126FDC8B}"/>
          </ac:spMkLst>
        </pc:spChg>
        <pc:spChg chg="mod">
          <ac:chgData name="Dimitri Militschenko" userId="2698819e-f51f-4938-ae1b-875ffc6b70b6" providerId="ADAL" clId="{D950206C-2C28-466C-980B-5E1C820A35A3}" dt="2024-05-17T17:12:37.702" v="1142" actId="2711"/>
          <ac:spMkLst>
            <pc:docMk/>
            <pc:sldMk cId="2389000172" sldId="266"/>
            <ac:spMk id="5" creationId="{55DAFE5B-36C1-4E8E-86EE-BBE9C83A89C1}"/>
          </ac:spMkLst>
        </pc:spChg>
        <pc:spChg chg="add del mod modVis">
          <ac:chgData name="Dimitri Militschenko" userId="2698819e-f51f-4938-ae1b-875ffc6b70b6" providerId="ADAL" clId="{D950206C-2C28-466C-980B-5E1C820A35A3}" dt="2024-05-15T17:04:38.004" v="256"/>
          <ac:spMkLst>
            <pc:docMk/>
            <pc:sldMk cId="2389000172" sldId="266"/>
            <ac:spMk id="6" creationId="{7DF52DC6-AD42-1700-D55A-69AB11AFA32B}"/>
          </ac:spMkLst>
        </pc:spChg>
        <pc:spChg chg="add del mod modVis">
          <ac:chgData name="Dimitri Militschenko" userId="2698819e-f51f-4938-ae1b-875ffc6b70b6" providerId="ADAL" clId="{D950206C-2C28-466C-980B-5E1C820A35A3}" dt="2024-05-15T17:04:40.776" v="308"/>
          <ac:spMkLst>
            <pc:docMk/>
            <pc:sldMk cId="2389000172" sldId="266"/>
            <ac:spMk id="8" creationId="{0717B972-EDCF-4CD8-5A8B-37F414052F2E}"/>
          </ac:spMkLst>
        </pc:spChg>
        <pc:spChg chg="add del mod modVis">
          <ac:chgData name="Dimitri Militschenko" userId="2698819e-f51f-4938-ae1b-875ffc6b70b6" providerId="ADAL" clId="{D950206C-2C28-466C-980B-5E1C820A35A3}" dt="2024-05-15T17:04:43.805" v="363"/>
          <ac:spMkLst>
            <pc:docMk/>
            <pc:sldMk cId="2389000172" sldId="266"/>
            <ac:spMk id="9" creationId="{50BE0BC8-7A82-25B4-60D0-8BADFF5406B6}"/>
          </ac:spMkLst>
        </pc:spChg>
        <pc:spChg chg="add del mod modVis">
          <ac:chgData name="Dimitri Militschenko" userId="2698819e-f51f-4938-ae1b-875ffc6b70b6" providerId="ADAL" clId="{D950206C-2C28-466C-980B-5E1C820A35A3}" dt="2024-05-15T17:04:51.413" v="411"/>
          <ac:spMkLst>
            <pc:docMk/>
            <pc:sldMk cId="2389000172" sldId="266"/>
            <ac:spMk id="10" creationId="{49C6A2D9-E661-678D-C979-22622338114B}"/>
          </ac:spMkLst>
        </pc:spChg>
        <pc:spChg chg="add del mod modVis">
          <ac:chgData name="Dimitri Militschenko" userId="2698819e-f51f-4938-ae1b-875ffc6b70b6" providerId="ADAL" clId="{D950206C-2C28-466C-980B-5E1C820A35A3}" dt="2024-05-15T17:05:08.451" v="458"/>
          <ac:spMkLst>
            <pc:docMk/>
            <pc:sldMk cId="2389000172" sldId="266"/>
            <ac:spMk id="11" creationId="{B20FC12F-7AD0-58E9-B855-F023536B979B}"/>
          </ac:spMkLst>
        </pc:spChg>
        <pc:spChg chg="add del mod modVis">
          <ac:chgData name="Dimitri Militschenko" userId="2698819e-f51f-4938-ae1b-875ffc6b70b6" providerId="ADAL" clId="{D950206C-2C28-466C-980B-5E1C820A35A3}" dt="2024-05-15T17:05:11.271" v="506"/>
          <ac:spMkLst>
            <pc:docMk/>
            <pc:sldMk cId="2389000172" sldId="266"/>
            <ac:spMk id="12" creationId="{C656ADFF-1BF4-FFA4-FCAE-B0F471C7451A}"/>
          </ac:spMkLst>
        </pc:spChg>
        <pc:spChg chg="add del mod modVis">
          <ac:chgData name="Dimitri Militschenko" userId="2698819e-f51f-4938-ae1b-875ffc6b70b6" providerId="ADAL" clId="{D950206C-2C28-466C-980B-5E1C820A35A3}" dt="2024-05-15T17:05:13.774" v="554"/>
          <ac:spMkLst>
            <pc:docMk/>
            <pc:sldMk cId="2389000172" sldId="266"/>
            <ac:spMk id="13" creationId="{E6857418-276B-56C7-EFDB-99456A76A333}"/>
          </ac:spMkLst>
        </pc:spChg>
        <pc:spChg chg="add del mod modVis">
          <ac:chgData name="Dimitri Militschenko" userId="2698819e-f51f-4938-ae1b-875ffc6b70b6" providerId="ADAL" clId="{D950206C-2C28-466C-980B-5E1C820A35A3}" dt="2024-05-15T17:05:19.346" v="602"/>
          <ac:spMkLst>
            <pc:docMk/>
            <pc:sldMk cId="2389000172" sldId="266"/>
            <ac:spMk id="14" creationId="{B3D84C79-989D-2D6B-1823-0514DA4A4B8E}"/>
          </ac:spMkLst>
        </pc:spChg>
        <pc:spChg chg="add del mod">
          <ac:chgData name="Dimitri Militschenko" userId="2698819e-f51f-4938-ae1b-875ffc6b70b6" providerId="ADAL" clId="{D950206C-2C28-466C-980B-5E1C820A35A3}" dt="2024-05-15T17:06:35.787" v="633" actId="478"/>
          <ac:spMkLst>
            <pc:docMk/>
            <pc:sldMk cId="2389000172" sldId="266"/>
            <ac:spMk id="15" creationId="{50FC8A26-3579-EF6F-DD77-4807CF95F3CC}"/>
          </ac:spMkLst>
        </pc:spChg>
        <pc:spChg chg="add del">
          <ac:chgData name="Dimitri Militschenko" userId="2698819e-f51f-4938-ae1b-875ffc6b70b6" providerId="ADAL" clId="{D950206C-2C28-466C-980B-5E1C820A35A3}" dt="2024-05-15T17:06:15.811" v="623" actId="478"/>
          <ac:spMkLst>
            <pc:docMk/>
            <pc:sldMk cId="2389000172" sldId="266"/>
            <ac:spMk id="17" creationId="{8D36DB26-5FF9-61CA-C17E-7B5082949519}"/>
          </ac:spMkLst>
        </pc:spChg>
        <pc:spChg chg="add mod">
          <ac:chgData name="Dimitri Militschenko" userId="2698819e-f51f-4938-ae1b-875ffc6b70b6" providerId="ADAL" clId="{D950206C-2C28-466C-980B-5E1C820A35A3}" dt="2024-05-15T17:07:22.389" v="641" actId="207"/>
          <ac:spMkLst>
            <pc:docMk/>
            <pc:sldMk cId="2389000172" sldId="266"/>
            <ac:spMk id="18" creationId="{24D415A4-0EFB-A011-3DD0-67F53704824F}"/>
          </ac:spMkLst>
        </pc:spChg>
        <pc:spChg chg="add del mod modVis">
          <ac:chgData name="Dimitri Militschenko" userId="2698819e-f51f-4938-ae1b-875ffc6b70b6" providerId="ADAL" clId="{D950206C-2C28-466C-980B-5E1C820A35A3}" dt="2024-05-15T17:07:37.002" v="687"/>
          <ac:spMkLst>
            <pc:docMk/>
            <pc:sldMk cId="2389000172" sldId="266"/>
            <ac:spMk id="19" creationId="{0A685781-66AE-8BA5-9A3F-60612E379F6B}"/>
          </ac:spMkLst>
        </pc:spChg>
        <pc:spChg chg="add del mod modVis">
          <ac:chgData name="Dimitri Militschenko" userId="2698819e-f51f-4938-ae1b-875ffc6b70b6" providerId="ADAL" clId="{D950206C-2C28-466C-980B-5E1C820A35A3}" dt="2024-05-15T17:07:45.249" v="744"/>
          <ac:spMkLst>
            <pc:docMk/>
            <pc:sldMk cId="2389000172" sldId="266"/>
            <ac:spMk id="20" creationId="{7F1D7DFD-E578-ABED-3FA4-FCDBDF0763B8}"/>
          </ac:spMkLst>
        </pc:spChg>
        <pc:spChg chg="add del mod modVis">
          <ac:chgData name="Dimitri Militschenko" userId="2698819e-f51f-4938-ae1b-875ffc6b70b6" providerId="ADAL" clId="{D950206C-2C28-466C-980B-5E1C820A35A3}" dt="2024-05-15T17:07:48.492" v="793"/>
          <ac:spMkLst>
            <pc:docMk/>
            <pc:sldMk cId="2389000172" sldId="266"/>
            <ac:spMk id="21" creationId="{969BD01F-1442-0B18-9A93-B49976E5386B}"/>
          </ac:spMkLst>
        </pc:spChg>
        <pc:spChg chg="add del mod modVis">
          <ac:chgData name="Dimitri Militschenko" userId="2698819e-f51f-4938-ae1b-875ffc6b70b6" providerId="ADAL" clId="{D950206C-2C28-466C-980B-5E1C820A35A3}" dt="2024-05-15T17:07:49.428" v="841"/>
          <ac:spMkLst>
            <pc:docMk/>
            <pc:sldMk cId="2389000172" sldId="266"/>
            <ac:spMk id="22" creationId="{CD39F51C-2C59-3543-DA33-EAF6D7541ABB}"/>
          </ac:spMkLst>
        </pc:spChg>
        <pc:spChg chg="add del mod modVis">
          <ac:chgData name="Dimitri Militschenko" userId="2698819e-f51f-4938-ae1b-875ffc6b70b6" providerId="ADAL" clId="{D950206C-2C28-466C-980B-5E1C820A35A3}" dt="2024-05-15T17:07:50.701" v="889"/>
          <ac:spMkLst>
            <pc:docMk/>
            <pc:sldMk cId="2389000172" sldId="266"/>
            <ac:spMk id="23" creationId="{A740EDF1-1007-8218-EEE7-8C099CE0236D}"/>
          </ac:spMkLst>
        </pc:spChg>
        <pc:spChg chg="add del mod modVis">
          <ac:chgData name="Dimitri Militschenko" userId="2698819e-f51f-4938-ae1b-875ffc6b70b6" providerId="ADAL" clId="{D950206C-2C28-466C-980B-5E1C820A35A3}" dt="2024-05-15T17:07:56.799" v="937"/>
          <ac:spMkLst>
            <pc:docMk/>
            <pc:sldMk cId="2389000172" sldId="266"/>
            <ac:spMk id="24" creationId="{CE51F996-1E46-F91D-8D76-264B4F917C76}"/>
          </ac:spMkLst>
        </pc:spChg>
        <pc:spChg chg="add del mod modVis">
          <ac:chgData name="Dimitri Militschenko" userId="2698819e-f51f-4938-ae1b-875ffc6b70b6" providerId="ADAL" clId="{D950206C-2C28-466C-980B-5E1C820A35A3}" dt="2024-05-15T17:07:59.462" v="985"/>
          <ac:spMkLst>
            <pc:docMk/>
            <pc:sldMk cId="2389000172" sldId="266"/>
            <ac:spMk id="25" creationId="{27EBC255-DF5E-9BB8-06BC-A80328FEDEA2}"/>
          </ac:spMkLst>
        </pc:spChg>
        <pc:spChg chg="add del mod modVis">
          <ac:chgData name="Dimitri Militschenko" userId="2698819e-f51f-4938-ae1b-875ffc6b70b6" providerId="ADAL" clId="{D950206C-2C28-466C-980B-5E1C820A35A3}" dt="2024-05-15T17:08:07.110" v="1033"/>
          <ac:spMkLst>
            <pc:docMk/>
            <pc:sldMk cId="2389000172" sldId="266"/>
            <ac:spMk id="26" creationId="{84E1D5A2-3BBE-C7DD-4365-ED5F57EF4B35}"/>
          </ac:spMkLst>
        </pc:spChg>
        <pc:graphicFrameChg chg="mod">
          <ac:chgData name="Dimitri Militschenko" userId="2698819e-f51f-4938-ae1b-875ffc6b70b6" providerId="ADAL" clId="{D950206C-2C28-466C-980B-5E1C820A35A3}" dt="2024-05-15T17:08:07.112" v="1035"/>
          <ac:graphicFrameMkLst>
            <pc:docMk/>
            <pc:sldMk cId="2389000172" sldId="266"/>
            <ac:graphicFrameMk id="7" creationId="{86CC1DF6-00DD-4FBE-B9CB-B5D097381298}"/>
          </ac:graphicFrameMkLst>
        </pc:graphicFrameChg>
      </pc:sldChg>
      <pc:sldChg chg="modSp mod">
        <pc:chgData name="Dimitri Militschenko" userId="2698819e-f51f-4938-ae1b-875ffc6b70b6" providerId="ADAL" clId="{D950206C-2C28-466C-980B-5E1C820A35A3}" dt="2024-05-17T17:14:57.586" v="1145" actId="6549"/>
        <pc:sldMkLst>
          <pc:docMk/>
          <pc:sldMk cId="1325671312" sldId="267"/>
        </pc:sldMkLst>
        <pc:spChg chg="mod">
          <ac:chgData name="Dimitri Militschenko" userId="2698819e-f51f-4938-ae1b-875ffc6b70b6" providerId="ADAL" clId="{D950206C-2C28-466C-980B-5E1C820A35A3}" dt="2024-05-17T17:14:57.586" v="1145" actId="6549"/>
          <ac:spMkLst>
            <pc:docMk/>
            <pc:sldMk cId="1325671312" sldId="267"/>
            <ac:spMk id="3" creationId="{33ADE9D8-D38A-4351-88F3-E78D2F95414B}"/>
          </ac:spMkLst>
        </pc:spChg>
        <pc:spChg chg="mod">
          <ac:chgData name="Dimitri Militschenko" userId="2698819e-f51f-4938-ae1b-875ffc6b70b6" providerId="ADAL" clId="{D950206C-2C28-466C-980B-5E1C820A35A3}" dt="2024-05-17T17:14:24.534" v="1143" actId="113"/>
          <ac:spMkLst>
            <pc:docMk/>
            <pc:sldMk cId="1325671312" sldId="267"/>
            <ac:spMk id="11" creationId="{B8906F85-7AA7-487C-A5AD-6406A0AD16C9}"/>
          </ac:spMkLst>
        </pc:spChg>
      </pc:sldChg>
      <pc:sldChg chg="modSp mod">
        <pc:chgData name="Dimitri Militschenko" userId="2698819e-f51f-4938-ae1b-875ffc6b70b6" providerId="ADAL" clId="{D950206C-2C28-466C-980B-5E1C820A35A3}" dt="2024-05-17T17:17:11.014" v="1150" actId="20577"/>
        <pc:sldMkLst>
          <pc:docMk/>
          <pc:sldMk cId="3857656806" sldId="268"/>
        </pc:sldMkLst>
        <pc:spChg chg="mod">
          <ac:chgData name="Dimitri Militschenko" userId="2698819e-f51f-4938-ae1b-875ffc6b70b6" providerId="ADAL" clId="{D950206C-2C28-466C-980B-5E1C820A35A3}" dt="2024-05-17T17:17:11.014" v="1150" actId="20577"/>
          <ac:spMkLst>
            <pc:docMk/>
            <pc:sldMk cId="3857656806" sldId="268"/>
            <ac:spMk id="4" creationId="{9ABB5680-89F6-44F1-B670-54B4F1CD8F8D}"/>
          </ac:spMkLst>
        </pc:spChg>
        <pc:spChg chg="mod">
          <ac:chgData name="Dimitri Militschenko" userId="2698819e-f51f-4938-ae1b-875ffc6b70b6" providerId="ADAL" clId="{D950206C-2C28-466C-980B-5E1C820A35A3}" dt="2024-05-17T17:15:07.936" v="1146" actId="20577"/>
          <ac:spMkLst>
            <pc:docMk/>
            <pc:sldMk cId="3857656806" sldId="268"/>
            <ac:spMk id="7" creationId="{5415EFE7-4743-4F5B-9F97-0B72861A9A0E}"/>
          </ac:spMkLst>
        </pc:spChg>
      </pc:sldChg>
      <pc:sldChg chg="addSp delSp modSp mod">
        <pc:chgData name="Dimitri Militschenko" userId="2698819e-f51f-4938-ae1b-875ffc6b70b6" providerId="ADAL" clId="{D950206C-2C28-466C-980B-5E1C820A35A3}" dt="2024-05-17T17:06:56.886" v="1121" actId="1076"/>
        <pc:sldMkLst>
          <pc:docMk/>
          <pc:sldMk cId="1595703888" sldId="2147474933"/>
        </pc:sldMkLst>
        <pc:spChg chg="add mod ord">
          <ac:chgData name="Dimitri Militschenko" userId="2698819e-f51f-4938-ae1b-875ffc6b70b6" providerId="ADAL" clId="{D950206C-2C28-466C-980B-5E1C820A35A3}" dt="2024-05-17T17:03:10.847" v="1079" actId="782"/>
          <ac:spMkLst>
            <pc:docMk/>
            <pc:sldMk cId="1595703888" sldId="2147474933"/>
            <ac:spMk id="2" creationId="{F4AA4937-101B-87F3-2347-324F536E1D33}"/>
          </ac:spMkLst>
        </pc:spChg>
        <pc:spChg chg="mod ord">
          <ac:chgData name="Dimitri Militschenko" userId="2698819e-f51f-4938-ae1b-875ffc6b70b6" providerId="ADAL" clId="{D950206C-2C28-466C-980B-5E1C820A35A3}" dt="2024-05-17T17:02:29.312" v="1049"/>
          <ac:spMkLst>
            <pc:docMk/>
            <pc:sldMk cId="1595703888" sldId="2147474933"/>
            <ac:spMk id="5" creationId="{3095CD59-4895-4C6D-88A7-6ADB9E88D4F5}"/>
          </ac:spMkLst>
        </pc:spChg>
        <pc:spChg chg="mod ord">
          <ac:chgData name="Dimitri Militschenko" userId="2698819e-f51f-4938-ae1b-875ffc6b70b6" providerId="ADAL" clId="{D950206C-2C28-466C-980B-5E1C820A35A3}" dt="2024-05-17T17:05:17.339" v="1095" actId="20577"/>
          <ac:spMkLst>
            <pc:docMk/>
            <pc:sldMk cId="1595703888" sldId="2147474933"/>
            <ac:spMk id="6" creationId="{723E1BD3-552E-49A5-B2A6-1038DF60EC3B}"/>
          </ac:spMkLst>
        </pc:spChg>
        <pc:spChg chg="mod ord">
          <ac:chgData name="Dimitri Militschenko" userId="2698819e-f51f-4938-ae1b-875ffc6b70b6" providerId="ADAL" clId="{D950206C-2C28-466C-980B-5E1C820A35A3}" dt="2024-05-17T17:03:23.226" v="1085" actId="782"/>
          <ac:spMkLst>
            <pc:docMk/>
            <pc:sldMk cId="1595703888" sldId="2147474933"/>
            <ac:spMk id="97" creationId="{9E4F75E8-8225-4FA1-8EA8-1512A38292F4}"/>
          </ac:spMkLst>
        </pc:spChg>
        <pc:spChg chg="mod ord">
          <ac:chgData name="Dimitri Militschenko" userId="2698819e-f51f-4938-ae1b-875ffc6b70b6" providerId="ADAL" clId="{D950206C-2C28-466C-980B-5E1C820A35A3}" dt="2024-05-17T17:02:54.438" v="1073" actId="404"/>
          <ac:spMkLst>
            <pc:docMk/>
            <pc:sldMk cId="1595703888" sldId="2147474933"/>
            <ac:spMk id="98" creationId="{064C2B75-EBEA-4B3D-8FE8-6AD31D2A7F68}"/>
          </ac:spMkLst>
        </pc:spChg>
        <pc:graphicFrameChg chg="mod">
          <ac:chgData name="Dimitri Militschenko" userId="2698819e-f51f-4938-ae1b-875ffc6b70b6" providerId="ADAL" clId="{D950206C-2C28-466C-980B-5E1C820A35A3}" dt="2024-05-17T17:02:29.325" v="1065"/>
          <ac:graphicFrameMkLst>
            <pc:docMk/>
            <pc:sldMk cId="1595703888" sldId="2147474933"/>
            <ac:graphicFrameMk id="8" creationId="{35C7A42E-DC1C-4E48-8167-1307E8F0C916}"/>
          </ac:graphicFrameMkLst>
        </pc:graphicFrameChg>
        <pc:picChg chg="add del mod">
          <ac:chgData name="Dimitri Militschenko" userId="2698819e-f51f-4938-ae1b-875ffc6b70b6" providerId="ADAL" clId="{D950206C-2C28-466C-980B-5E1C820A35A3}" dt="2024-05-15T16:03:16.596" v="6" actId="478"/>
          <ac:picMkLst>
            <pc:docMk/>
            <pc:sldMk cId="1595703888" sldId="2147474933"/>
            <ac:picMk id="3" creationId="{AB504796-2FDF-9B1E-1E46-C6B3F01029BF}"/>
          </ac:picMkLst>
        </pc:picChg>
        <pc:picChg chg="add mod ord">
          <ac:chgData name="Dimitri Militschenko" userId="2698819e-f51f-4938-ae1b-875ffc6b70b6" providerId="ADAL" clId="{D950206C-2C28-466C-980B-5E1C820A35A3}" dt="2024-05-17T17:06:56.886" v="1121" actId="1076"/>
          <ac:picMkLst>
            <pc:docMk/>
            <pc:sldMk cId="1595703888" sldId="2147474933"/>
            <ac:picMk id="7" creationId="{3B7E9843-47AD-BBDB-AA54-E167A90035B5}"/>
          </ac:picMkLst>
        </pc:picChg>
        <pc:picChg chg="mod ord">
          <ac:chgData name="Dimitri Militschenko" userId="2698819e-f51f-4938-ae1b-875ffc6b70b6" providerId="ADAL" clId="{D950206C-2C28-466C-980B-5E1C820A35A3}" dt="2024-05-17T17:05:50.284" v="1108" actId="1035"/>
          <ac:picMkLst>
            <pc:docMk/>
            <pc:sldMk cId="1595703888" sldId="2147474933"/>
            <ac:picMk id="9" creationId="{EAD6C100-6BD1-4360-9C0A-DEBF96B0272F}"/>
          </ac:picMkLst>
        </pc:picChg>
      </pc:sldChg>
      <pc:sldChg chg="addSp delSp modSp add del mod">
        <pc:chgData name="Dimitri Militschenko" userId="2698819e-f51f-4938-ae1b-875ffc6b70b6" providerId="ADAL" clId="{D950206C-2C28-466C-980B-5E1C820A35A3}" dt="2024-05-23T09:45:31.973" v="1369" actId="47"/>
        <pc:sldMkLst>
          <pc:docMk/>
          <pc:sldMk cId="158898702" sldId="2147474936"/>
        </pc:sldMkLst>
        <pc:spChg chg="mod">
          <ac:chgData name="Dimitri Militschenko" userId="2698819e-f51f-4938-ae1b-875ffc6b70b6" providerId="ADAL" clId="{D950206C-2C28-466C-980B-5E1C820A35A3}" dt="2024-05-23T09:26:05.260" v="1322" actId="948"/>
          <ac:spMkLst>
            <pc:docMk/>
            <pc:sldMk cId="158898702" sldId="2147474936"/>
            <ac:spMk id="3" creationId="{843EC4F4-91B5-492D-B43E-B1C2126FDC8B}"/>
          </ac:spMkLst>
        </pc:spChg>
        <pc:spChg chg="add del mod modVis">
          <ac:chgData name="Dimitri Militschenko" userId="2698819e-f51f-4938-ae1b-875ffc6b70b6" providerId="ADAL" clId="{D950206C-2C28-466C-980B-5E1C820A35A3}" dt="2024-05-23T09:25:49.962" v="1200"/>
          <ac:spMkLst>
            <pc:docMk/>
            <pc:sldMk cId="158898702" sldId="2147474936"/>
            <ac:spMk id="6" creationId="{C3A6F924-96BC-0228-BBF7-91C5BC8DDA4A}"/>
          </ac:spMkLst>
        </pc:spChg>
        <pc:spChg chg="add del mod modVis">
          <ac:chgData name="Dimitri Militschenko" userId="2698819e-f51f-4938-ae1b-875ffc6b70b6" providerId="ADAL" clId="{D950206C-2C28-466C-980B-5E1C820A35A3}" dt="2024-05-23T09:25:51.628" v="1256"/>
          <ac:spMkLst>
            <pc:docMk/>
            <pc:sldMk cId="158898702" sldId="2147474936"/>
            <ac:spMk id="8" creationId="{6E9F05BB-6DB7-C64F-C7C1-1765C0B52800}"/>
          </ac:spMkLst>
        </pc:spChg>
        <pc:spChg chg="add del mod modVis">
          <ac:chgData name="Dimitri Militschenko" userId="2698819e-f51f-4938-ae1b-875ffc6b70b6" providerId="ADAL" clId="{D950206C-2C28-466C-980B-5E1C820A35A3}" dt="2024-05-23T09:26:03.146" v="1310"/>
          <ac:spMkLst>
            <pc:docMk/>
            <pc:sldMk cId="158898702" sldId="2147474936"/>
            <ac:spMk id="9" creationId="{9BF6399B-0078-FEC8-9CF7-372E5C40482D}"/>
          </ac:spMkLst>
        </pc:spChg>
        <pc:spChg chg="add del mod modVis">
          <ac:chgData name="Dimitri Militschenko" userId="2698819e-f51f-4938-ae1b-875ffc6b70b6" providerId="ADAL" clId="{D950206C-2C28-466C-980B-5E1C820A35A3}" dt="2024-05-23T09:26:05.289" v="1366"/>
          <ac:spMkLst>
            <pc:docMk/>
            <pc:sldMk cId="158898702" sldId="2147474936"/>
            <ac:spMk id="10" creationId="{6E9D6F8C-8155-F429-6119-0C87C9B09C5C}"/>
          </ac:spMkLst>
        </pc:spChg>
        <pc:graphicFrameChg chg="mod">
          <ac:chgData name="Dimitri Militschenko" userId="2698819e-f51f-4938-ae1b-875ffc6b70b6" providerId="ADAL" clId="{D950206C-2C28-466C-980B-5E1C820A35A3}" dt="2024-05-23T09:26:05.291" v="1368"/>
          <ac:graphicFrameMkLst>
            <pc:docMk/>
            <pc:sldMk cId="158898702" sldId="2147474936"/>
            <ac:graphicFrameMk id="7" creationId="{86CC1DF6-00DD-4FBE-B9CB-B5D097381298}"/>
          </ac:graphicFrameMkLst>
        </pc:graphicFrameChg>
      </pc:sldChg>
    </pc:docChg>
  </pc:docChgLst>
  <pc:docChgLst>
    <pc:chgData name="Lara Weidemann" userId="d78676d4-96c8-4de9-b65f-ba2c93297340" providerId="ADAL" clId="{4DB2661C-9E3D-4243-8C35-421A4CA6D538}"/>
    <pc:docChg chg="undo custSel addSld delSld modSld">
      <pc:chgData name="Lara Weidemann" userId="d78676d4-96c8-4de9-b65f-ba2c93297340" providerId="ADAL" clId="{4DB2661C-9E3D-4243-8C35-421A4CA6D538}" dt="2023-03-06T14:14:40.584" v="6300" actId="113"/>
      <pc:docMkLst>
        <pc:docMk/>
      </pc:docMkLst>
      <pc:sldChg chg="addSp delSp modSp">
        <pc:chgData name="Lara Weidemann" userId="d78676d4-96c8-4de9-b65f-ba2c93297340" providerId="ADAL" clId="{4DB2661C-9E3D-4243-8C35-421A4CA6D538}" dt="2023-03-06T14:14:40.584" v="6300" actId="113"/>
        <pc:sldMkLst>
          <pc:docMk/>
          <pc:sldMk cId="1886290154" sldId="260"/>
        </pc:sldMkLst>
        <pc:spChg chg="add del mod">
          <ac:chgData name="Lara Weidemann" userId="d78676d4-96c8-4de9-b65f-ba2c93297340" providerId="ADAL" clId="{4DB2661C-9E3D-4243-8C35-421A4CA6D538}" dt="2023-03-06T10:31:01.690" v="3008" actId="478"/>
          <ac:spMkLst>
            <pc:docMk/>
            <pc:sldMk cId="1886290154" sldId="260"/>
            <ac:spMk id="2" creationId="{893604FA-8E55-428E-9379-9D5C826D559A}"/>
          </ac:spMkLst>
        </pc:spChg>
        <pc:spChg chg="add del mod">
          <ac:chgData name="Lara Weidemann" userId="d78676d4-96c8-4de9-b65f-ba2c93297340" providerId="ADAL" clId="{4DB2661C-9E3D-4243-8C35-421A4CA6D538}" dt="2023-03-03T12:12:15.566" v="1046"/>
          <ac:spMkLst>
            <pc:docMk/>
            <pc:sldMk cId="1886290154" sldId="260"/>
            <ac:spMk id="2" creationId="{D47D39B5-9E95-46B1-A0AE-D106BFEC0065}"/>
          </ac:spMkLst>
        </pc:spChg>
        <pc:spChg chg="del mod">
          <ac:chgData name="Lara Weidemann" userId="d78676d4-96c8-4de9-b65f-ba2c93297340" providerId="ADAL" clId="{4DB2661C-9E3D-4243-8C35-421A4CA6D538}" dt="2023-03-06T12:32:21.273" v="3387" actId="478"/>
          <ac:spMkLst>
            <pc:docMk/>
            <pc:sldMk cId="1886290154" sldId="260"/>
            <ac:spMk id="3" creationId="{EC3EC117-F92D-405F-9D8E-BF7C57019C1D}"/>
          </ac:spMkLst>
        </pc:spChg>
        <pc:spChg chg="mod">
          <ac:chgData name="Lara Weidemann" userId="d78676d4-96c8-4de9-b65f-ba2c93297340" providerId="ADAL" clId="{4DB2661C-9E3D-4243-8C35-421A4CA6D538}" dt="2023-03-06T12:41:09.181" v="3430" actId="14100"/>
          <ac:spMkLst>
            <pc:docMk/>
            <pc:sldMk cId="1886290154" sldId="260"/>
            <ac:spMk id="4" creationId="{DE95C3E3-719D-4345-B914-4108A41722B1}"/>
          </ac:spMkLst>
        </pc:spChg>
        <pc:spChg chg="add del mod">
          <ac:chgData name="Lara Weidemann" userId="d78676d4-96c8-4de9-b65f-ba2c93297340" providerId="ADAL" clId="{4DB2661C-9E3D-4243-8C35-421A4CA6D538}" dt="2023-03-06T10:30:55.755" v="3005"/>
          <ac:spMkLst>
            <pc:docMk/>
            <pc:sldMk cId="1886290154" sldId="260"/>
            <ac:spMk id="7" creationId="{BA1FD873-8750-4F1A-B2BC-AA7CA1956E7D}"/>
          </ac:spMkLst>
        </pc:spChg>
        <pc:spChg chg="add del mod">
          <ac:chgData name="Lara Weidemann" userId="d78676d4-96c8-4de9-b65f-ba2c93297340" providerId="ADAL" clId="{4DB2661C-9E3D-4243-8C35-421A4CA6D538}" dt="2023-03-03T12:12:17.991" v="1098"/>
          <ac:spMkLst>
            <pc:docMk/>
            <pc:sldMk cId="1886290154" sldId="260"/>
            <ac:spMk id="7" creationId="{CD8FB195-C510-4AF6-AF24-A9513353D461}"/>
          </ac:spMkLst>
        </pc:spChg>
        <pc:spChg chg="add del mod">
          <ac:chgData name="Lara Weidemann" userId="d78676d4-96c8-4de9-b65f-ba2c93297340" providerId="ADAL" clId="{4DB2661C-9E3D-4243-8C35-421A4CA6D538}" dt="2023-03-03T12:12:24.720" v="1140"/>
          <ac:spMkLst>
            <pc:docMk/>
            <pc:sldMk cId="1886290154" sldId="260"/>
            <ac:spMk id="8" creationId="{16685711-4D52-499A-81FC-05D0E55CA822}"/>
          </ac:spMkLst>
        </pc:spChg>
        <pc:spChg chg="add del mod">
          <ac:chgData name="Lara Weidemann" userId="d78676d4-96c8-4de9-b65f-ba2c93297340" providerId="ADAL" clId="{4DB2661C-9E3D-4243-8C35-421A4CA6D538}" dt="2023-03-06T10:37:24.036" v="3062" actId="478"/>
          <ac:spMkLst>
            <pc:docMk/>
            <pc:sldMk cId="1886290154" sldId="260"/>
            <ac:spMk id="15" creationId="{E7E67813-2BAB-4B04-BF41-4190A0577275}"/>
          </ac:spMkLst>
        </pc:spChg>
        <pc:spChg chg="del mod">
          <ac:chgData name="Lara Weidemann" userId="d78676d4-96c8-4de9-b65f-ba2c93297340" providerId="ADAL" clId="{4DB2661C-9E3D-4243-8C35-421A4CA6D538}" dt="2023-03-06T10:36:25.082" v="3054" actId="478"/>
          <ac:spMkLst>
            <pc:docMk/>
            <pc:sldMk cId="1886290154" sldId="260"/>
            <ac:spMk id="24" creationId="{115A7DFC-839B-4481-AB90-720CB7348465}"/>
          </ac:spMkLst>
        </pc:spChg>
        <pc:spChg chg="del mod">
          <ac:chgData name="Lara Weidemann" userId="d78676d4-96c8-4de9-b65f-ba2c93297340" providerId="ADAL" clId="{4DB2661C-9E3D-4243-8C35-421A4CA6D538}" dt="2023-03-06T12:47:39.448" v="3563" actId="478"/>
          <ac:spMkLst>
            <pc:docMk/>
            <pc:sldMk cId="1886290154" sldId="260"/>
            <ac:spMk id="29" creationId="{37C38B11-0635-46F9-8FC6-979A5A56A649}"/>
          </ac:spMkLst>
        </pc:spChg>
        <pc:spChg chg="mod">
          <ac:chgData name="Lara Weidemann" userId="d78676d4-96c8-4de9-b65f-ba2c93297340" providerId="ADAL" clId="{4DB2661C-9E3D-4243-8C35-421A4CA6D538}" dt="2023-03-06T14:14:12.686" v="6294" actId="113"/>
          <ac:spMkLst>
            <pc:docMk/>
            <pc:sldMk cId="1886290154" sldId="260"/>
            <ac:spMk id="30" creationId="{03B582E9-FDE3-4FDD-849B-1EA667694DBC}"/>
          </ac:spMkLst>
        </pc:spChg>
        <pc:spChg chg="mod">
          <ac:chgData name="Lara Weidemann" userId="d78676d4-96c8-4de9-b65f-ba2c93297340" providerId="ADAL" clId="{4DB2661C-9E3D-4243-8C35-421A4CA6D538}" dt="2023-03-06T14:14:31.986" v="6298" actId="113"/>
          <ac:spMkLst>
            <pc:docMk/>
            <pc:sldMk cId="1886290154" sldId="260"/>
            <ac:spMk id="31" creationId="{BD70C336-9CDF-460A-8433-F1DA6C33DC52}"/>
          </ac:spMkLst>
        </pc:spChg>
        <pc:spChg chg="mod">
          <ac:chgData name="Lara Weidemann" userId="d78676d4-96c8-4de9-b65f-ba2c93297340" providerId="ADAL" clId="{4DB2661C-9E3D-4243-8C35-421A4CA6D538}" dt="2023-03-06T14:14:36.124" v="6299" actId="113"/>
          <ac:spMkLst>
            <pc:docMk/>
            <pc:sldMk cId="1886290154" sldId="260"/>
            <ac:spMk id="33" creationId="{74E9B2F5-CA70-42FA-B664-A55F699C2FEA}"/>
          </ac:spMkLst>
        </pc:spChg>
        <pc:spChg chg="mod">
          <ac:chgData name="Lara Weidemann" userId="d78676d4-96c8-4de9-b65f-ba2c93297340" providerId="ADAL" clId="{4DB2661C-9E3D-4243-8C35-421A4CA6D538}" dt="2023-03-06T14:14:40.584" v="6300" actId="113"/>
          <ac:spMkLst>
            <pc:docMk/>
            <pc:sldMk cId="1886290154" sldId="260"/>
            <ac:spMk id="34" creationId="{3C102EE3-D92D-45B1-A1F3-0C10BC136E4D}"/>
          </ac:spMkLst>
        </pc:spChg>
        <pc:spChg chg="mod">
          <ac:chgData name="Lara Weidemann" userId="d78676d4-96c8-4de9-b65f-ba2c93297340" providerId="ADAL" clId="{4DB2661C-9E3D-4243-8C35-421A4CA6D538}" dt="2023-03-06T14:14:27.177" v="6296" actId="113"/>
          <ac:spMkLst>
            <pc:docMk/>
            <pc:sldMk cId="1886290154" sldId="260"/>
            <ac:spMk id="35" creationId="{A0E0DBBF-A8B1-4737-8B7D-6DEDB2524007}"/>
          </ac:spMkLst>
        </pc:spChg>
        <pc:spChg chg="mod">
          <ac:chgData name="Lara Weidemann" userId="d78676d4-96c8-4de9-b65f-ba2c93297340" providerId="ADAL" clId="{4DB2661C-9E3D-4243-8C35-421A4CA6D538}" dt="2023-03-06T14:14:20.480" v="6295" actId="113"/>
          <ac:spMkLst>
            <pc:docMk/>
            <pc:sldMk cId="1886290154" sldId="260"/>
            <ac:spMk id="36" creationId="{4805ECAF-49E6-4FB8-A0D6-912B16FE8537}"/>
          </ac:spMkLst>
        </pc:spChg>
        <pc:spChg chg="add mod">
          <ac:chgData name="Lara Weidemann" userId="d78676d4-96c8-4de9-b65f-ba2c93297340" providerId="ADAL" clId="{4DB2661C-9E3D-4243-8C35-421A4CA6D538}" dt="2023-03-06T12:32:56.001" v="3416" actId="1076"/>
          <ac:spMkLst>
            <pc:docMk/>
            <pc:sldMk cId="1886290154" sldId="260"/>
            <ac:spMk id="37" creationId="{C5017C0B-3E75-4CB7-B00C-A5A576FD91B3}"/>
          </ac:spMkLst>
        </pc:spChg>
        <pc:spChg chg="add del mod">
          <ac:chgData name="Lara Weidemann" userId="d78676d4-96c8-4de9-b65f-ba2c93297340" providerId="ADAL" clId="{4DB2661C-9E3D-4243-8C35-421A4CA6D538}" dt="2023-03-06T12:32:24.843" v="3390" actId="478"/>
          <ac:spMkLst>
            <pc:docMk/>
            <pc:sldMk cId="1886290154" sldId="260"/>
            <ac:spMk id="38" creationId="{E4991660-051A-444D-80CA-6BD8450069C5}"/>
          </ac:spMkLst>
        </pc:spChg>
        <pc:graphicFrameChg chg="mod">
          <ac:chgData name="Lara Weidemann" userId="d78676d4-96c8-4de9-b65f-ba2c93297340" providerId="ADAL" clId="{4DB2661C-9E3D-4243-8C35-421A4CA6D538}" dt="2023-03-06T12:32:25.343" v="3392"/>
          <ac:graphicFrameMkLst>
            <pc:docMk/>
            <pc:sldMk cId="1886290154" sldId="260"/>
            <ac:graphicFrameMk id="5" creationId="{C92DCF4D-4BF7-44C5-9D27-02C57DD3D07C}"/>
          </ac:graphicFrameMkLst>
        </pc:graphicFrameChg>
        <pc:picChg chg="mod">
          <ac:chgData name="Lara Weidemann" userId="d78676d4-96c8-4de9-b65f-ba2c93297340" providerId="ADAL" clId="{4DB2661C-9E3D-4243-8C35-421A4CA6D538}" dt="2023-03-06T12:47:56.192" v="3580" actId="1035"/>
          <ac:picMkLst>
            <pc:docMk/>
            <pc:sldMk cId="1886290154" sldId="260"/>
            <ac:picMk id="6" creationId="{EAC58450-8C7C-46FE-B3A1-2AF946881B83}"/>
          </ac:picMkLst>
        </pc:picChg>
        <pc:cxnChg chg="mod">
          <ac:chgData name="Lara Weidemann" userId="d78676d4-96c8-4de9-b65f-ba2c93297340" providerId="ADAL" clId="{4DB2661C-9E3D-4243-8C35-421A4CA6D538}" dt="2023-03-06T12:51:14.891" v="3685" actId="208"/>
          <ac:cxnSpMkLst>
            <pc:docMk/>
            <pc:sldMk cId="1886290154" sldId="260"/>
            <ac:cxnSpMk id="10" creationId="{C6717914-4CC3-4C0D-99BD-11EBCA5B5801}"/>
          </ac:cxnSpMkLst>
        </pc:cxnChg>
        <pc:cxnChg chg="mod">
          <ac:chgData name="Lara Weidemann" userId="d78676d4-96c8-4de9-b65f-ba2c93297340" providerId="ADAL" clId="{4DB2661C-9E3D-4243-8C35-421A4CA6D538}" dt="2023-03-06T12:56:38.796" v="3690" actId="14100"/>
          <ac:cxnSpMkLst>
            <pc:docMk/>
            <pc:sldMk cId="1886290154" sldId="260"/>
            <ac:cxnSpMk id="11" creationId="{CAD4F7C9-E333-43E4-AA5B-F4FAF08DC58D}"/>
          </ac:cxnSpMkLst>
        </pc:cxnChg>
        <pc:cxnChg chg="mod">
          <ac:chgData name="Lara Weidemann" userId="d78676d4-96c8-4de9-b65f-ba2c93297340" providerId="ADAL" clId="{4DB2661C-9E3D-4243-8C35-421A4CA6D538}" dt="2023-03-06T12:47:56.192" v="3580" actId="1035"/>
          <ac:cxnSpMkLst>
            <pc:docMk/>
            <pc:sldMk cId="1886290154" sldId="260"/>
            <ac:cxnSpMk id="16" creationId="{36877F89-7DED-42FE-A7AD-A1D408716AA3}"/>
          </ac:cxnSpMkLst>
        </pc:cxnChg>
        <pc:cxnChg chg="mod">
          <ac:chgData name="Lara Weidemann" userId="d78676d4-96c8-4de9-b65f-ba2c93297340" providerId="ADAL" clId="{4DB2661C-9E3D-4243-8C35-421A4CA6D538}" dt="2023-03-06T12:50:58.583" v="3683" actId="208"/>
          <ac:cxnSpMkLst>
            <pc:docMk/>
            <pc:sldMk cId="1886290154" sldId="260"/>
            <ac:cxnSpMk id="17" creationId="{E0DEFF46-70B1-4151-B7E4-086C7BE51705}"/>
          </ac:cxnSpMkLst>
        </pc:cxnChg>
        <pc:cxnChg chg="mod">
          <ac:chgData name="Lara Weidemann" userId="d78676d4-96c8-4de9-b65f-ba2c93297340" providerId="ADAL" clId="{4DB2661C-9E3D-4243-8C35-421A4CA6D538}" dt="2023-03-06T12:47:56.192" v="3580" actId="1035"/>
          <ac:cxnSpMkLst>
            <pc:docMk/>
            <pc:sldMk cId="1886290154" sldId="260"/>
            <ac:cxnSpMk id="21" creationId="{95B7F1B7-A19B-46F8-886A-371078BEAEEC}"/>
          </ac:cxnSpMkLst>
        </pc:cxnChg>
        <pc:cxnChg chg="mod">
          <ac:chgData name="Lara Weidemann" userId="d78676d4-96c8-4de9-b65f-ba2c93297340" providerId="ADAL" clId="{4DB2661C-9E3D-4243-8C35-421A4CA6D538}" dt="2023-03-06T12:47:56.192" v="3580" actId="1035"/>
          <ac:cxnSpMkLst>
            <pc:docMk/>
            <pc:sldMk cId="1886290154" sldId="260"/>
            <ac:cxnSpMk id="25" creationId="{7BFC28CC-8018-48DE-8216-D136E8F36F62}"/>
          </ac:cxnSpMkLst>
        </pc:cxnChg>
      </pc:sldChg>
      <pc:sldChg chg="addSp delSp modSp">
        <pc:chgData name="Lara Weidemann" userId="d78676d4-96c8-4de9-b65f-ba2c93297340" providerId="ADAL" clId="{4DB2661C-9E3D-4243-8C35-421A4CA6D538}" dt="2023-03-06T13:47:31.916" v="4787"/>
        <pc:sldMkLst>
          <pc:docMk/>
          <pc:sldMk cId="2389000172" sldId="266"/>
        </pc:sldMkLst>
        <pc:spChg chg="mod">
          <ac:chgData name="Lara Weidemann" userId="d78676d4-96c8-4de9-b65f-ba2c93297340" providerId="ADAL" clId="{4DB2661C-9E3D-4243-8C35-421A4CA6D538}" dt="2023-03-06T13:47:31.879" v="4717" actId="948"/>
          <ac:spMkLst>
            <pc:docMk/>
            <pc:sldMk cId="2389000172" sldId="266"/>
            <ac:spMk id="3" creationId="{843EC4F4-91B5-492D-B43E-B1C2126FDC8B}"/>
          </ac:spMkLst>
        </pc:spChg>
        <pc:spChg chg="add del mod">
          <ac:chgData name="Lara Weidemann" userId="d78676d4-96c8-4de9-b65f-ba2c93297340" providerId="ADAL" clId="{4DB2661C-9E3D-4243-8C35-421A4CA6D538}" dt="2023-03-06T13:22:44.308" v="3741"/>
          <ac:spMkLst>
            <pc:docMk/>
            <pc:sldMk cId="2389000172" sldId="266"/>
            <ac:spMk id="6" creationId="{D988CE50-81AE-45BE-A48C-00ABFA12CA26}"/>
          </ac:spMkLst>
        </pc:spChg>
        <pc:spChg chg="add del mod">
          <ac:chgData name="Lara Weidemann" userId="d78676d4-96c8-4de9-b65f-ba2c93297340" providerId="ADAL" clId="{4DB2661C-9E3D-4243-8C35-421A4CA6D538}" dt="2023-03-03T12:23:37.831" v="2482"/>
          <ac:spMkLst>
            <pc:docMk/>
            <pc:sldMk cId="2389000172" sldId="266"/>
            <ac:spMk id="6" creationId="{ED0FC550-66F6-4A63-834B-B36D6E2CE360}"/>
          </ac:spMkLst>
        </pc:spChg>
        <pc:spChg chg="add del mod">
          <ac:chgData name="Lara Weidemann" userId="d78676d4-96c8-4de9-b65f-ba2c93297340" providerId="ADAL" clId="{4DB2661C-9E3D-4243-8C35-421A4CA6D538}" dt="2023-03-06T13:22:46.448" v="3786"/>
          <ac:spMkLst>
            <pc:docMk/>
            <pc:sldMk cId="2389000172" sldId="266"/>
            <ac:spMk id="8" creationId="{2F00E7D1-763D-466F-85A9-23B5B6C237EE}"/>
          </ac:spMkLst>
        </pc:spChg>
        <pc:spChg chg="add del mod">
          <ac:chgData name="Lara Weidemann" userId="d78676d4-96c8-4de9-b65f-ba2c93297340" providerId="ADAL" clId="{4DB2661C-9E3D-4243-8C35-421A4CA6D538}" dt="2023-03-03T12:23:39.888" v="2532"/>
          <ac:spMkLst>
            <pc:docMk/>
            <pc:sldMk cId="2389000172" sldId="266"/>
            <ac:spMk id="8" creationId="{9885FD8C-0DCB-4742-8A62-866C7F8AC446}"/>
          </ac:spMkLst>
        </pc:spChg>
        <pc:spChg chg="add del mod">
          <ac:chgData name="Lara Weidemann" userId="d78676d4-96c8-4de9-b65f-ba2c93297340" providerId="ADAL" clId="{4DB2661C-9E3D-4243-8C35-421A4CA6D538}" dt="2023-03-06T13:22:47.594" v="3831"/>
          <ac:spMkLst>
            <pc:docMk/>
            <pc:sldMk cId="2389000172" sldId="266"/>
            <ac:spMk id="9" creationId="{BB325246-E3C4-441C-9D9C-87170D7D2B08}"/>
          </ac:spMkLst>
        </pc:spChg>
        <pc:spChg chg="add del mod">
          <ac:chgData name="Lara Weidemann" userId="d78676d4-96c8-4de9-b65f-ba2c93297340" providerId="ADAL" clId="{4DB2661C-9E3D-4243-8C35-421A4CA6D538}" dt="2023-03-03T12:23:41.410" v="2579"/>
          <ac:spMkLst>
            <pc:docMk/>
            <pc:sldMk cId="2389000172" sldId="266"/>
            <ac:spMk id="9" creationId="{FE28F447-785C-415E-86AD-C93C2D16141E}"/>
          </ac:spMkLst>
        </pc:spChg>
        <pc:spChg chg="add del mod">
          <ac:chgData name="Lara Weidemann" userId="d78676d4-96c8-4de9-b65f-ba2c93297340" providerId="ADAL" clId="{4DB2661C-9E3D-4243-8C35-421A4CA6D538}" dt="2023-03-06T13:22:49.359" v="3881"/>
          <ac:spMkLst>
            <pc:docMk/>
            <pc:sldMk cId="2389000172" sldId="266"/>
            <ac:spMk id="10" creationId="{468EB356-6328-4649-990F-06857E97A646}"/>
          </ac:spMkLst>
        </pc:spChg>
        <pc:spChg chg="add del mod">
          <ac:chgData name="Lara Weidemann" userId="d78676d4-96c8-4de9-b65f-ba2c93297340" providerId="ADAL" clId="{4DB2661C-9E3D-4243-8C35-421A4CA6D538}" dt="2023-03-03T12:23:45.009" v="2630"/>
          <ac:spMkLst>
            <pc:docMk/>
            <pc:sldMk cId="2389000172" sldId="266"/>
            <ac:spMk id="10" creationId="{6FF16C46-8615-4DF1-8B12-8120A500C86F}"/>
          </ac:spMkLst>
        </pc:spChg>
        <pc:spChg chg="add del mod">
          <ac:chgData name="Lara Weidemann" userId="d78676d4-96c8-4de9-b65f-ba2c93297340" providerId="ADAL" clId="{4DB2661C-9E3D-4243-8C35-421A4CA6D538}" dt="2023-03-03T12:23:48.395" v="2690"/>
          <ac:spMkLst>
            <pc:docMk/>
            <pc:sldMk cId="2389000172" sldId="266"/>
            <ac:spMk id="11" creationId="{7321363B-02FC-49ED-90ED-BCAE3A40F3A0}"/>
          </ac:spMkLst>
        </pc:spChg>
        <pc:spChg chg="add del mod">
          <ac:chgData name="Lara Weidemann" userId="d78676d4-96c8-4de9-b65f-ba2c93297340" providerId="ADAL" clId="{4DB2661C-9E3D-4243-8C35-421A4CA6D538}" dt="2023-03-06T13:22:50.020" v="3923"/>
          <ac:spMkLst>
            <pc:docMk/>
            <pc:sldMk cId="2389000172" sldId="266"/>
            <ac:spMk id="11" creationId="{91AFC8DE-2CAD-47B4-8546-7D8B98ADD269}"/>
          </ac:spMkLst>
        </pc:spChg>
        <pc:spChg chg="add del mod">
          <ac:chgData name="Lara Weidemann" userId="d78676d4-96c8-4de9-b65f-ba2c93297340" providerId="ADAL" clId="{4DB2661C-9E3D-4243-8C35-421A4CA6D538}" dt="2023-03-03T12:23:49.415" v="2732"/>
          <ac:spMkLst>
            <pc:docMk/>
            <pc:sldMk cId="2389000172" sldId="266"/>
            <ac:spMk id="12" creationId="{3D85C6AA-ACF8-47DB-AD50-FAC4EC1EED1D}"/>
          </ac:spMkLst>
        </pc:spChg>
        <pc:spChg chg="add del mod">
          <ac:chgData name="Lara Weidemann" userId="d78676d4-96c8-4de9-b65f-ba2c93297340" providerId="ADAL" clId="{4DB2661C-9E3D-4243-8C35-421A4CA6D538}" dt="2023-03-06T13:22:52.224" v="3974"/>
          <ac:spMkLst>
            <pc:docMk/>
            <pc:sldMk cId="2389000172" sldId="266"/>
            <ac:spMk id="12" creationId="{3F30F05F-C048-4B6E-9D48-324BF8E28024}"/>
          </ac:spMkLst>
        </pc:spChg>
        <pc:spChg chg="add del mod">
          <ac:chgData name="Lara Weidemann" userId="d78676d4-96c8-4de9-b65f-ba2c93297340" providerId="ADAL" clId="{4DB2661C-9E3D-4243-8C35-421A4CA6D538}" dt="2023-03-03T12:23:55.445" v="2774"/>
          <ac:spMkLst>
            <pc:docMk/>
            <pc:sldMk cId="2389000172" sldId="266"/>
            <ac:spMk id="13" creationId="{BE43F245-4E1D-4BF8-853F-0DDE40AB2ACC}"/>
          </ac:spMkLst>
        </pc:spChg>
        <pc:spChg chg="add del mod">
          <ac:chgData name="Lara Weidemann" userId="d78676d4-96c8-4de9-b65f-ba2c93297340" providerId="ADAL" clId="{4DB2661C-9E3D-4243-8C35-421A4CA6D538}" dt="2023-03-06T13:23:23.674" v="4016"/>
          <ac:spMkLst>
            <pc:docMk/>
            <pc:sldMk cId="2389000172" sldId="266"/>
            <ac:spMk id="13" creationId="{FBAEC6AB-1D6B-414E-9E4F-3C1EC1741658}"/>
          </ac:spMkLst>
        </pc:spChg>
        <pc:spChg chg="add del mod">
          <ac:chgData name="Lara Weidemann" userId="d78676d4-96c8-4de9-b65f-ba2c93297340" providerId="ADAL" clId="{4DB2661C-9E3D-4243-8C35-421A4CA6D538}" dt="2023-03-06T13:27:34.395" v="4098" actId="20578"/>
          <ac:spMkLst>
            <pc:docMk/>
            <pc:sldMk cId="2389000172" sldId="266"/>
            <ac:spMk id="14" creationId="{080C001A-1DBC-434A-B421-94474767FCFC}"/>
          </ac:spMkLst>
        </pc:spChg>
        <pc:spChg chg="add del mod">
          <ac:chgData name="Lara Weidemann" userId="d78676d4-96c8-4de9-b65f-ba2c93297340" providerId="ADAL" clId="{4DB2661C-9E3D-4243-8C35-421A4CA6D538}" dt="2023-03-06T13:46:36.942" v="4144"/>
          <ac:spMkLst>
            <pc:docMk/>
            <pc:sldMk cId="2389000172" sldId="266"/>
            <ac:spMk id="15" creationId="{B10BD1B7-8A84-40BE-8B9C-B6865007D621}"/>
          </ac:spMkLst>
        </pc:spChg>
        <pc:spChg chg="add del mod">
          <ac:chgData name="Lara Weidemann" userId="d78676d4-96c8-4de9-b65f-ba2c93297340" providerId="ADAL" clId="{4DB2661C-9E3D-4243-8C35-421A4CA6D538}" dt="2023-03-06T13:46:39.860" v="4200"/>
          <ac:spMkLst>
            <pc:docMk/>
            <pc:sldMk cId="2389000172" sldId="266"/>
            <ac:spMk id="16" creationId="{58AF69AC-26BC-4253-B0FC-0774AB9B55B6}"/>
          </ac:spMkLst>
        </pc:spChg>
        <pc:spChg chg="add del mod">
          <ac:chgData name="Lara Weidemann" userId="d78676d4-96c8-4de9-b65f-ba2c93297340" providerId="ADAL" clId="{4DB2661C-9E3D-4243-8C35-421A4CA6D538}" dt="2023-03-06T13:46:42.694" v="4250"/>
          <ac:spMkLst>
            <pc:docMk/>
            <pc:sldMk cId="2389000172" sldId="266"/>
            <ac:spMk id="17" creationId="{73084C76-5710-44EC-9B22-209D2B1BD899}"/>
          </ac:spMkLst>
        </pc:spChg>
        <pc:spChg chg="add del mod">
          <ac:chgData name="Lara Weidemann" userId="d78676d4-96c8-4de9-b65f-ba2c93297340" providerId="ADAL" clId="{4DB2661C-9E3D-4243-8C35-421A4CA6D538}" dt="2023-03-06T13:46:43.909" v="4294"/>
          <ac:spMkLst>
            <pc:docMk/>
            <pc:sldMk cId="2389000172" sldId="266"/>
            <ac:spMk id="18" creationId="{77290BD5-89A4-4420-A9B7-51F602EE782A}"/>
          </ac:spMkLst>
        </pc:spChg>
        <pc:spChg chg="add del mod">
          <ac:chgData name="Lara Weidemann" userId="d78676d4-96c8-4de9-b65f-ba2c93297340" providerId="ADAL" clId="{4DB2661C-9E3D-4243-8C35-421A4CA6D538}" dt="2023-03-06T13:46:49.160" v="4373"/>
          <ac:spMkLst>
            <pc:docMk/>
            <pc:sldMk cId="2389000172" sldId="266"/>
            <ac:spMk id="19" creationId="{E563BD91-8D7E-4475-9994-1E64FE38905D}"/>
          </ac:spMkLst>
        </pc:spChg>
        <pc:spChg chg="add del mod">
          <ac:chgData name="Lara Weidemann" userId="d78676d4-96c8-4de9-b65f-ba2c93297340" providerId="ADAL" clId="{4DB2661C-9E3D-4243-8C35-421A4CA6D538}" dt="2023-03-06T13:46:49.841" v="4415"/>
          <ac:spMkLst>
            <pc:docMk/>
            <pc:sldMk cId="2389000172" sldId="266"/>
            <ac:spMk id="20" creationId="{54A8CE63-1BA3-4030-9748-B48B54230F26}"/>
          </ac:spMkLst>
        </pc:spChg>
        <pc:spChg chg="add del mod">
          <ac:chgData name="Lara Weidemann" userId="d78676d4-96c8-4de9-b65f-ba2c93297340" providerId="ADAL" clId="{4DB2661C-9E3D-4243-8C35-421A4CA6D538}" dt="2023-03-06T13:46:56.179" v="4485"/>
          <ac:spMkLst>
            <pc:docMk/>
            <pc:sldMk cId="2389000172" sldId="266"/>
            <ac:spMk id="21" creationId="{0A4DA36D-DCE7-431C-A2C8-2D563BAE0F6B}"/>
          </ac:spMkLst>
        </pc:spChg>
        <pc:spChg chg="add del mod">
          <ac:chgData name="Lara Weidemann" userId="d78676d4-96c8-4de9-b65f-ba2c93297340" providerId="ADAL" clId="{4DB2661C-9E3D-4243-8C35-421A4CA6D538}" dt="2023-03-06T13:47:02.495" v="4527"/>
          <ac:spMkLst>
            <pc:docMk/>
            <pc:sldMk cId="2389000172" sldId="266"/>
            <ac:spMk id="22" creationId="{4E07DA4C-3FD0-40B2-93E3-AFBC5116DAE0}"/>
          </ac:spMkLst>
        </pc:spChg>
        <pc:spChg chg="add del mod">
          <ac:chgData name="Lara Weidemann" userId="d78676d4-96c8-4de9-b65f-ba2c93297340" providerId="ADAL" clId="{4DB2661C-9E3D-4243-8C35-421A4CA6D538}" dt="2023-03-06T13:47:14.361" v="4569"/>
          <ac:spMkLst>
            <pc:docMk/>
            <pc:sldMk cId="2389000172" sldId="266"/>
            <ac:spMk id="23" creationId="{6C272807-866B-4158-9E90-516AB0B09B0F}"/>
          </ac:spMkLst>
        </pc:spChg>
        <pc:spChg chg="add del mod">
          <ac:chgData name="Lara Weidemann" userId="d78676d4-96c8-4de9-b65f-ba2c93297340" providerId="ADAL" clId="{4DB2661C-9E3D-4243-8C35-421A4CA6D538}" dt="2023-03-06T13:47:18.324" v="4641"/>
          <ac:spMkLst>
            <pc:docMk/>
            <pc:sldMk cId="2389000172" sldId="266"/>
            <ac:spMk id="24" creationId="{E81A2A9E-A8BE-467C-85A8-62C8B3C2C3F9}"/>
          </ac:spMkLst>
        </pc:spChg>
        <pc:spChg chg="add del mod">
          <ac:chgData name="Lara Weidemann" userId="d78676d4-96c8-4de9-b65f-ba2c93297340" providerId="ADAL" clId="{4DB2661C-9E3D-4243-8C35-421A4CA6D538}" dt="2023-03-06T13:47:26.129" v="4713"/>
          <ac:spMkLst>
            <pc:docMk/>
            <pc:sldMk cId="2389000172" sldId="266"/>
            <ac:spMk id="25" creationId="{B46FFC81-D073-421C-9E51-0EBF450A3098}"/>
          </ac:spMkLst>
        </pc:spChg>
        <pc:spChg chg="add del mod">
          <ac:chgData name="Lara Weidemann" userId="d78676d4-96c8-4de9-b65f-ba2c93297340" providerId="ADAL" clId="{4DB2661C-9E3D-4243-8C35-421A4CA6D538}" dt="2023-03-06T13:47:31.915" v="4785"/>
          <ac:spMkLst>
            <pc:docMk/>
            <pc:sldMk cId="2389000172" sldId="266"/>
            <ac:spMk id="26" creationId="{B73D06BD-B490-4712-A0EF-1B714D9B06BE}"/>
          </ac:spMkLst>
        </pc:spChg>
        <pc:graphicFrameChg chg="mod">
          <ac:chgData name="Lara Weidemann" userId="d78676d4-96c8-4de9-b65f-ba2c93297340" providerId="ADAL" clId="{4DB2661C-9E3D-4243-8C35-421A4CA6D538}" dt="2023-03-06T13:47:31.916" v="4787"/>
          <ac:graphicFrameMkLst>
            <pc:docMk/>
            <pc:sldMk cId="2389000172" sldId="266"/>
            <ac:graphicFrameMk id="7" creationId="{86CC1DF6-00DD-4FBE-B9CB-B5D097381298}"/>
          </ac:graphicFrameMkLst>
        </pc:graphicFrameChg>
      </pc:sldChg>
      <pc:sldChg chg="addSp delSp modSp">
        <pc:chgData name="Lara Weidemann" userId="d78676d4-96c8-4de9-b65f-ba2c93297340" providerId="ADAL" clId="{4DB2661C-9E3D-4243-8C35-421A4CA6D538}" dt="2023-03-06T11:46:26.868" v="3161" actId="14100"/>
        <pc:sldMkLst>
          <pc:docMk/>
          <pc:sldMk cId="1325671312" sldId="267"/>
        </pc:sldMkLst>
        <pc:spChg chg="mod">
          <ac:chgData name="Lara Weidemann" userId="d78676d4-96c8-4de9-b65f-ba2c93297340" providerId="ADAL" clId="{4DB2661C-9E3D-4243-8C35-421A4CA6D538}" dt="2023-03-06T11:46:26.868" v="3161" actId="14100"/>
          <ac:spMkLst>
            <pc:docMk/>
            <pc:sldMk cId="1325671312" sldId="267"/>
            <ac:spMk id="2" creationId="{A2604645-BD76-4EBE-9A3F-B03F74B4AE0C}"/>
          </ac:spMkLst>
        </pc:spChg>
        <pc:spChg chg="mod">
          <ac:chgData name="Lara Weidemann" userId="d78676d4-96c8-4de9-b65f-ba2c93297340" providerId="ADAL" clId="{4DB2661C-9E3D-4243-8C35-421A4CA6D538}" dt="2023-03-06T10:29:02.361" v="2961" actId="948"/>
          <ac:spMkLst>
            <pc:docMk/>
            <pc:sldMk cId="1325671312" sldId="267"/>
            <ac:spMk id="3" creationId="{33ADE9D8-D38A-4351-88F3-E78D2F95414B}"/>
          </ac:spMkLst>
        </pc:spChg>
        <pc:spChg chg="mod">
          <ac:chgData name="Lara Weidemann" userId="d78676d4-96c8-4de9-b65f-ba2c93297340" providerId="ADAL" clId="{4DB2661C-9E3D-4243-8C35-421A4CA6D538}" dt="2023-03-06T10:25:38.106" v="2924" actId="1076"/>
          <ac:spMkLst>
            <pc:docMk/>
            <pc:sldMk cId="1325671312" sldId="267"/>
            <ac:spMk id="11" creationId="{B8906F85-7AA7-487C-A5AD-6406A0AD16C9}"/>
          </ac:spMkLst>
        </pc:spChg>
        <pc:spChg chg="mod">
          <ac:chgData name="Lara Weidemann" userId="d78676d4-96c8-4de9-b65f-ba2c93297340" providerId="ADAL" clId="{4DB2661C-9E3D-4243-8C35-421A4CA6D538}" dt="2023-03-06T09:51:55.825" v="2911" actId="1076"/>
          <ac:spMkLst>
            <pc:docMk/>
            <pc:sldMk cId="1325671312" sldId="267"/>
            <ac:spMk id="12" creationId="{A4C187FB-BF2A-42E9-8046-2E55810EA5FE}"/>
          </ac:spMkLst>
        </pc:spChg>
        <pc:graphicFrameChg chg="add mod ord">
          <ac:chgData name="Lara Weidemann" userId="d78676d4-96c8-4de9-b65f-ba2c93297340" providerId="ADAL" clId="{4DB2661C-9E3D-4243-8C35-421A4CA6D538}" dt="2023-03-03T12:11:43.748" v="976"/>
          <ac:graphicFrameMkLst>
            <pc:docMk/>
            <pc:sldMk cId="1325671312" sldId="267"/>
            <ac:graphicFrameMk id="5" creationId="{64026435-EBB0-4353-A250-22744CAEB0F0}"/>
          </ac:graphicFrameMkLst>
        </pc:graphicFrameChg>
        <pc:picChg chg="mod">
          <ac:chgData name="Lara Weidemann" userId="d78676d4-96c8-4de9-b65f-ba2c93297340" providerId="ADAL" clId="{4DB2661C-9E3D-4243-8C35-421A4CA6D538}" dt="2023-03-06T09:51:52.211" v="2910" actId="1076"/>
          <ac:picMkLst>
            <pc:docMk/>
            <pc:sldMk cId="1325671312" sldId="267"/>
            <ac:picMk id="4" creationId="{E5DB18C1-FF95-4085-A97E-89EC374C183C}"/>
          </ac:picMkLst>
        </pc:picChg>
        <pc:picChg chg="del">
          <ac:chgData name="Lara Weidemann" userId="d78676d4-96c8-4de9-b65f-ba2c93297340" providerId="ADAL" clId="{4DB2661C-9E3D-4243-8C35-421A4CA6D538}" dt="2023-03-06T09:39:24.565" v="2866" actId="478"/>
          <ac:picMkLst>
            <pc:docMk/>
            <pc:sldMk cId="1325671312" sldId="267"/>
            <ac:picMk id="3074" creationId="{B71FEECC-223C-448A-8705-136CBA485BE2}"/>
          </ac:picMkLst>
        </pc:picChg>
        <pc:picChg chg="mod">
          <ac:chgData name="Lara Weidemann" userId="d78676d4-96c8-4de9-b65f-ba2c93297340" providerId="ADAL" clId="{4DB2661C-9E3D-4243-8C35-421A4CA6D538}" dt="2023-03-06T10:25:40.466" v="2925" actId="1036"/>
          <ac:picMkLst>
            <pc:docMk/>
            <pc:sldMk cId="1325671312" sldId="267"/>
            <ac:picMk id="3082" creationId="{19338693-CC4F-4B5F-8F78-36B1E5AEB5F9}"/>
          </ac:picMkLst>
        </pc:picChg>
      </pc:sldChg>
      <pc:sldChg chg="addSp modSp">
        <pc:chgData name="Lara Weidemann" userId="d78676d4-96c8-4de9-b65f-ba2c93297340" providerId="ADAL" clId="{4DB2661C-9E3D-4243-8C35-421A4CA6D538}" dt="2023-03-06T09:39:14.581" v="2865" actId="1076"/>
        <pc:sldMkLst>
          <pc:docMk/>
          <pc:sldMk cId="3857656806" sldId="268"/>
        </pc:sldMkLst>
        <pc:spChg chg="mod">
          <ac:chgData name="Lara Weidemann" userId="d78676d4-96c8-4de9-b65f-ba2c93297340" providerId="ADAL" clId="{4DB2661C-9E3D-4243-8C35-421A4CA6D538}" dt="2023-03-06T09:39:10.963" v="2864" actId="404"/>
          <ac:spMkLst>
            <pc:docMk/>
            <pc:sldMk cId="3857656806" sldId="268"/>
            <ac:spMk id="4" creationId="{9ABB5680-89F6-44F1-B670-54B4F1CD8F8D}"/>
          </ac:spMkLst>
        </pc:spChg>
        <pc:spChg chg="mod">
          <ac:chgData name="Lara Weidemann" userId="d78676d4-96c8-4de9-b65f-ba2c93297340" providerId="ADAL" clId="{4DB2661C-9E3D-4243-8C35-421A4CA6D538}" dt="2023-03-06T09:39:14.581" v="2865" actId="1076"/>
          <ac:spMkLst>
            <pc:docMk/>
            <pc:sldMk cId="3857656806" sldId="268"/>
            <ac:spMk id="7" creationId="{5415EFE7-4743-4F5B-9F97-0B72861A9A0E}"/>
          </ac:spMkLst>
        </pc:spChg>
        <pc:graphicFrameChg chg="add mod ord">
          <ac:chgData name="Lara Weidemann" userId="d78676d4-96c8-4de9-b65f-ba2c93297340" providerId="ADAL" clId="{4DB2661C-9E3D-4243-8C35-421A4CA6D538}" dt="2023-03-03T12:06:05.873" v="380"/>
          <ac:graphicFrameMkLst>
            <pc:docMk/>
            <pc:sldMk cId="3857656806" sldId="268"/>
            <ac:graphicFrameMk id="2" creationId="{933053D3-4431-4B6F-A6DC-AE85B08B2637}"/>
          </ac:graphicFrameMkLst>
        </pc:graphicFrameChg>
      </pc:sldChg>
      <pc:sldChg chg="modSp add">
        <pc:chgData name="Lara Weidemann" userId="d78676d4-96c8-4de9-b65f-ba2c93297340" providerId="ADAL" clId="{4DB2661C-9E3D-4243-8C35-421A4CA6D538}" dt="2023-03-06T09:39:04.587" v="2861" actId="1076"/>
        <pc:sldMkLst>
          <pc:docMk/>
          <pc:sldMk cId="1595703888" sldId="2147474933"/>
        </pc:sldMkLst>
        <pc:spChg chg="mod">
          <ac:chgData name="Lara Weidemann" userId="d78676d4-96c8-4de9-b65f-ba2c93297340" providerId="ADAL" clId="{4DB2661C-9E3D-4243-8C35-421A4CA6D538}" dt="2023-03-06T09:38:59.998" v="2860" actId="255"/>
          <ac:spMkLst>
            <pc:docMk/>
            <pc:sldMk cId="1595703888" sldId="2147474933"/>
            <ac:spMk id="5" creationId="{3095CD59-4895-4C6D-88A7-6ADB9E88D4F5}"/>
          </ac:spMkLst>
        </pc:spChg>
        <pc:spChg chg="mod">
          <ac:chgData name="Lara Weidemann" userId="d78676d4-96c8-4de9-b65f-ba2c93297340" providerId="ADAL" clId="{4DB2661C-9E3D-4243-8C35-421A4CA6D538}" dt="2023-03-06T09:39:04.587" v="2861" actId="1076"/>
          <ac:spMkLst>
            <pc:docMk/>
            <pc:sldMk cId="1595703888" sldId="2147474933"/>
            <ac:spMk id="6" creationId="{723E1BD3-552E-49A5-B2A6-1038DF60EC3B}"/>
          </ac:spMkLst>
        </pc:spChg>
      </pc:sldChg>
      <pc:sldChg chg="addSp delSp modSp add">
        <pc:chgData name="Lara Weidemann" userId="d78676d4-96c8-4de9-b65f-ba2c93297340" providerId="ADAL" clId="{4DB2661C-9E3D-4243-8C35-421A4CA6D538}" dt="2023-03-06T14:10:04.261" v="6040" actId="1076"/>
        <pc:sldMkLst>
          <pc:docMk/>
          <pc:sldMk cId="40899146" sldId="2147474934"/>
        </pc:sldMkLst>
        <pc:spChg chg="add del mod">
          <ac:chgData name="Lara Weidemann" userId="d78676d4-96c8-4de9-b65f-ba2c93297340" providerId="ADAL" clId="{4DB2661C-9E3D-4243-8C35-421A4CA6D538}" dt="2023-03-06T12:03:09.106" v="3228" actId="478"/>
          <ac:spMkLst>
            <pc:docMk/>
            <pc:sldMk cId="40899146" sldId="2147474934"/>
            <ac:spMk id="3" creationId="{52AC74BB-C79D-458B-8DC0-13898B74827A}"/>
          </ac:spMkLst>
        </pc:spChg>
        <pc:spChg chg="add del mod ord">
          <ac:chgData name="Lara Weidemann" userId="d78676d4-96c8-4de9-b65f-ba2c93297340" providerId="ADAL" clId="{4DB2661C-9E3D-4243-8C35-421A4CA6D538}" dt="2023-03-06T14:00:38.341" v="5789" actId="478"/>
          <ac:spMkLst>
            <pc:docMk/>
            <pc:sldMk cId="40899146" sldId="2147474934"/>
            <ac:spMk id="4" creationId="{F5A0F7C5-A150-4015-BEB4-A400A051BA95}"/>
          </ac:spMkLst>
        </pc:spChg>
        <pc:spChg chg="del">
          <ac:chgData name="Lara Weidemann" userId="d78676d4-96c8-4de9-b65f-ba2c93297340" providerId="ADAL" clId="{4DB2661C-9E3D-4243-8C35-421A4CA6D538}" dt="2023-03-06T12:03:18.485" v="3229"/>
          <ac:spMkLst>
            <pc:docMk/>
            <pc:sldMk cId="40899146" sldId="2147474934"/>
            <ac:spMk id="6" creationId="{1FFCE510-3078-490D-9EB3-7F19548E2C08}"/>
          </ac:spMkLst>
        </pc:spChg>
        <pc:spChg chg="add mod ord">
          <ac:chgData name="Lara Weidemann" userId="d78676d4-96c8-4de9-b65f-ba2c93297340" providerId="ADAL" clId="{4DB2661C-9E3D-4243-8C35-421A4CA6D538}" dt="2023-03-06T14:10:04.261" v="6040" actId="1076"/>
          <ac:spMkLst>
            <pc:docMk/>
            <pc:sldMk cId="40899146" sldId="2147474934"/>
            <ac:spMk id="7" creationId="{590103BA-0763-4FFE-A610-DEFAD9577D1C}"/>
          </ac:spMkLst>
        </pc:spChg>
        <pc:spChg chg="mod ord">
          <ac:chgData name="Lara Weidemann" userId="d78676d4-96c8-4de9-b65f-ba2c93297340" providerId="ADAL" clId="{4DB2661C-9E3D-4243-8C35-421A4CA6D538}" dt="2023-03-06T14:09:12.308" v="6028" actId="1076"/>
          <ac:spMkLst>
            <pc:docMk/>
            <pc:sldMk cId="40899146" sldId="2147474934"/>
            <ac:spMk id="10" creationId="{2EFFDFF4-342F-418C-A9AD-BDE15F52149D}"/>
          </ac:spMkLst>
        </pc:spChg>
        <pc:spChg chg="add del mod">
          <ac:chgData name="Lara Weidemann" userId="d78676d4-96c8-4de9-b65f-ba2c93297340" providerId="ADAL" clId="{4DB2661C-9E3D-4243-8C35-421A4CA6D538}" dt="2023-03-06T14:00:46.265" v="5795" actId="478"/>
          <ac:spMkLst>
            <pc:docMk/>
            <pc:sldMk cId="40899146" sldId="2147474934"/>
            <ac:spMk id="13" creationId="{EDC33189-146D-42DA-A45B-67DDC0150427}"/>
          </ac:spMkLst>
        </pc:spChg>
        <pc:spChg chg="add mod">
          <ac:chgData name="Lara Weidemann" userId="d78676d4-96c8-4de9-b65f-ba2c93297340" providerId="ADAL" clId="{4DB2661C-9E3D-4243-8C35-421A4CA6D538}" dt="2023-03-06T14:08:57.536" v="6026" actId="14100"/>
          <ac:spMkLst>
            <pc:docMk/>
            <pc:sldMk cId="40899146" sldId="2147474934"/>
            <ac:spMk id="14" creationId="{EB9B333B-169F-4307-A2DF-AACCB28B26E4}"/>
          </ac:spMkLst>
        </pc:spChg>
        <pc:graphicFrameChg chg="mod">
          <ac:chgData name="Lara Weidemann" userId="d78676d4-96c8-4de9-b65f-ba2c93297340" providerId="ADAL" clId="{4DB2661C-9E3D-4243-8C35-421A4CA6D538}" dt="2023-03-06T14:01:05.991" v="5802"/>
          <ac:graphicFrameMkLst>
            <pc:docMk/>
            <pc:sldMk cId="40899146" sldId="2147474934"/>
            <ac:graphicFrameMk id="5" creationId="{72018189-1E5F-48ED-8E7E-5969ACFC191D}"/>
          </ac:graphicFrameMkLst>
        </pc:graphicFrameChg>
        <pc:picChg chg="del">
          <ac:chgData name="Lara Weidemann" userId="d78676d4-96c8-4de9-b65f-ba2c93297340" providerId="ADAL" clId="{4DB2661C-9E3D-4243-8C35-421A4CA6D538}" dt="2023-03-06T12:03:03.261" v="3227" actId="478"/>
          <ac:picMkLst>
            <pc:docMk/>
            <pc:sldMk cId="40899146" sldId="2147474934"/>
            <ac:picMk id="9" creationId="{DE708230-29CD-4D06-AD6D-4E59F65E1199}"/>
          </ac:picMkLst>
        </pc:picChg>
        <pc:picChg chg="add del mod ord modCrop">
          <ac:chgData name="Lara Weidemann" userId="d78676d4-96c8-4de9-b65f-ba2c93297340" providerId="ADAL" clId="{4DB2661C-9E3D-4243-8C35-421A4CA6D538}" dt="2023-03-06T14:08:09.747" v="6016" actId="478"/>
          <ac:picMkLst>
            <pc:docMk/>
            <pc:sldMk cId="40899146" sldId="2147474934"/>
            <ac:picMk id="11" creationId="{229A453B-C0FB-4B8D-A672-8BC3F516692B}"/>
          </ac:picMkLst>
        </pc:picChg>
        <pc:picChg chg="add del mod modCrop">
          <ac:chgData name="Lara Weidemann" userId="d78676d4-96c8-4de9-b65f-ba2c93297340" providerId="ADAL" clId="{4DB2661C-9E3D-4243-8C35-421A4CA6D538}" dt="2023-03-06T14:09:01.182" v="6027" actId="1076"/>
          <ac:picMkLst>
            <pc:docMk/>
            <pc:sldMk cId="40899146" sldId="2147474934"/>
            <ac:picMk id="16" creationId="{3EE9F52F-1812-4FA1-BCCF-92E137C8BD26}"/>
          </ac:picMkLst>
        </pc:picChg>
        <pc:picChg chg="add mod modCrop">
          <ac:chgData name="Lara Weidemann" userId="d78676d4-96c8-4de9-b65f-ba2c93297340" providerId="ADAL" clId="{4DB2661C-9E3D-4243-8C35-421A4CA6D538}" dt="2023-03-06T14:09:57.526" v="6038" actId="732"/>
          <ac:picMkLst>
            <pc:docMk/>
            <pc:sldMk cId="40899146" sldId="2147474934"/>
            <ac:picMk id="17" creationId="{DF7370CD-EFA9-4FA2-A598-2AEDD00829A4}"/>
          </ac:picMkLst>
        </pc:picChg>
        <pc:picChg chg="del">
          <ac:chgData name="Lara Weidemann" userId="d78676d4-96c8-4de9-b65f-ba2c93297340" providerId="ADAL" clId="{4DB2661C-9E3D-4243-8C35-421A4CA6D538}" dt="2023-03-06T12:03:21.390" v="3232" actId="478"/>
          <ac:picMkLst>
            <pc:docMk/>
            <pc:sldMk cId="40899146" sldId="2147474934"/>
            <ac:picMk id="3074" creationId="{50ED601F-B380-46BF-90FD-2F6781B93409}"/>
          </ac:picMkLst>
        </pc:picChg>
      </pc:sldChg>
    </pc:docChg>
  </pc:docChgLst>
  <pc:docChgLst>
    <pc:chgData name="Dimitri Militschenko" userId="2698819e-f51f-4938-ae1b-875ffc6b70b6" providerId="ADAL" clId="{FD29A0DF-19ED-4E4C-80D1-5BAE79E5A100}"/>
    <pc:docChg chg="undo redo custSel addSld delSld modSld replTag">
      <pc:chgData name="Dimitri Militschenko" userId="2698819e-f51f-4938-ae1b-875ffc6b70b6" providerId="ADAL" clId="{FD29A0DF-19ED-4E4C-80D1-5BAE79E5A100}" dt="2024-06-07T09:42:23.808" v="488"/>
      <pc:docMkLst>
        <pc:docMk/>
      </pc:docMkLst>
      <pc:sldChg chg="addSp modSp mod">
        <pc:chgData name="Dimitri Militschenko" userId="2698819e-f51f-4938-ae1b-875ffc6b70b6" providerId="ADAL" clId="{FD29A0DF-19ED-4E4C-80D1-5BAE79E5A100}" dt="2024-06-07T09:37:44.853" v="174" actId="1076"/>
        <pc:sldMkLst>
          <pc:docMk/>
          <pc:sldMk cId="1886290154" sldId="260"/>
        </pc:sldMkLst>
        <pc:spChg chg="add mod">
          <ac:chgData name="Dimitri Militschenko" userId="2698819e-f51f-4938-ae1b-875ffc6b70b6" providerId="ADAL" clId="{FD29A0DF-19ED-4E4C-80D1-5BAE79E5A100}" dt="2024-06-07T09:37:44.853" v="174" actId="1076"/>
          <ac:spMkLst>
            <pc:docMk/>
            <pc:sldMk cId="1886290154" sldId="260"/>
            <ac:spMk id="2" creationId="{3B2CFA18-6B0B-6616-09B7-80138DE2161A}"/>
          </ac:spMkLst>
        </pc:spChg>
        <pc:spChg chg="mod">
          <ac:chgData name="Dimitri Militschenko" userId="2698819e-f51f-4938-ae1b-875ffc6b70b6" providerId="ADAL" clId="{FD29A0DF-19ED-4E4C-80D1-5BAE79E5A100}" dt="2024-06-07T09:35:06.069" v="133" actId="20577"/>
          <ac:spMkLst>
            <pc:docMk/>
            <pc:sldMk cId="1886290154" sldId="260"/>
            <ac:spMk id="4" creationId="{DE95C3E3-719D-4345-B914-4108A41722B1}"/>
          </ac:spMkLst>
        </pc:spChg>
        <pc:spChg chg="mod">
          <ac:chgData name="Dimitri Militschenko" userId="2698819e-f51f-4938-ae1b-875ffc6b70b6" providerId="ADAL" clId="{FD29A0DF-19ED-4E4C-80D1-5BAE79E5A100}" dt="2024-06-07T09:35:50.293" v="135" actId="1076"/>
          <ac:spMkLst>
            <pc:docMk/>
            <pc:sldMk cId="1886290154" sldId="260"/>
            <ac:spMk id="9" creationId="{D68683CA-D747-4F72-855C-D100B6960514}"/>
          </ac:spMkLst>
        </pc:spChg>
        <pc:spChg chg="mod">
          <ac:chgData name="Dimitri Militschenko" userId="2698819e-f51f-4938-ae1b-875ffc6b70b6" providerId="ADAL" clId="{FD29A0DF-19ED-4E4C-80D1-5BAE79E5A100}" dt="2024-06-07T09:29:36.611" v="116" actId="113"/>
          <ac:spMkLst>
            <pc:docMk/>
            <pc:sldMk cId="1886290154" sldId="260"/>
            <ac:spMk id="30" creationId="{03B582E9-FDE3-4FDD-849B-1EA667694DBC}"/>
          </ac:spMkLst>
        </pc:spChg>
        <pc:picChg chg="mod">
          <ac:chgData name="Dimitri Militschenko" userId="2698819e-f51f-4938-ae1b-875ffc6b70b6" providerId="ADAL" clId="{FD29A0DF-19ED-4E4C-80D1-5BAE79E5A100}" dt="2024-06-07T09:37:35.435" v="173" actId="1076"/>
          <ac:picMkLst>
            <pc:docMk/>
            <pc:sldMk cId="1886290154" sldId="260"/>
            <ac:picMk id="3" creationId="{0FF23189-20BE-CD98-D06A-163C2260BCD0}"/>
          </ac:picMkLst>
        </pc:picChg>
      </pc:sldChg>
      <pc:sldChg chg="addSp delSp modSp mod">
        <pc:chgData name="Dimitri Militschenko" userId="2698819e-f51f-4938-ae1b-875ffc6b70b6" providerId="ADAL" clId="{FD29A0DF-19ED-4E4C-80D1-5BAE79E5A100}" dt="2024-06-07T09:42:23.808" v="488"/>
        <pc:sldMkLst>
          <pc:docMk/>
          <pc:sldMk cId="2389000172" sldId="266"/>
        </pc:sldMkLst>
        <pc:spChg chg="mod">
          <ac:chgData name="Dimitri Militschenko" userId="2698819e-f51f-4938-ae1b-875ffc6b70b6" providerId="ADAL" clId="{FD29A0DF-19ED-4E4C-80D1-5BAE79E5A100}" dt="2024-06-07T09:42:23.801" v="486" actId="20577"/>
          <ac:spMkLst>
            <pc:docMk/>
            <pc:sldMk cId="2389000172" sldId="266"/>
            <ac:spMk id="3" creationId="{843EC4F4-91B5-492D-B43E-B1C2126FDC8B}"/>
          </ac:spMkLst>
        </pc:spChg>
        <pc:spChg chg="add del mod modVis">
          <ac:chgData name="Dimitri Militschenko" userId="2698819e-f51f-4938-ae1b-875ffc6b70b6" providerId="ADAL" clId="{FD29A0DF-19ED-4E4C-80D1-5BAE79E5A100}" dt="2024-06-07T09:42:00.269" v="234"/>
          <ac:spMkLst>
            <pc:docMk/>
            <pc:sldMk cId="2389000172" sldId="266"/>
            <ac:spMk id="6" creationId="{389A4F0B-DCC9-1A35-A8A4-9EFF6767645D}"/>
          </ac:spMkLst>
        </pc:spChg>
        <pc:spChg chg="add del mod modVis">
          <ac:chgData name="Dimitri Militschenko" userId="2698819e-f51f-4938-ae1b-875ffc6b70b6" providerId="ADAL" clId="{FD29A0DF-19ED-4E4C-80D1-5BAE79E5A100}" dt="2024-06-07T09:42:03.411" v="282"/>
          <ac:spMkLst>
            <pc:docMk/>
            <pc:sldMk cId="2389000172" sldId="266"/>
            <ac:spMk id="8" creationId="{36FB59B4-A308-065A-2CF4-4F76118A7342}"/>
          </ac:spMkLst>
        </pc:spChg>
        <pc:spChg chg="add del mod modVis">
          <ac:chgData name="Dimitri Militschenko" userId="2698819e-f51f-4938-ae1b-875ffc6b70b6" providerId="ADAL" clId="{FD29A0DF-19ED-4E4C-80D1-5BAE79E5A100}" dt="2024-06-07T09:42:11.894" v="344"/>
          <ac:spMkLst>
            <pc:docMk/>
            <pc:sldMk cId="2389000172" sldId="266"/>
            <ac:spMk id="9" creationId="{FC854B71-4AD0-648F-BBD7-F4EE34F432D5}"/>
          </ac:spMkLst>
        </pc:spChg>
        <pc:spChg chg="add del mod modVis">
          <ac:chgData name="Dimitri Militschenko" userId="2698819e-f51f-4938-ae1b-875ffc6b70b6" providerId="ADAL" clId="{FD29A0DF-19ED-4E4C-80D1-5BAE79E5A100}" dt="2024-06-07T09:42:13.541" v="392"/>
          <ac:spMkLst>
            <pc:docMk/>
            <pc:sldMk cId="2389000172" sldId="266"/>
            <ac:spMk id="10" creationId="{0BFC7F94-0FE1-B1A8-DF94-82A21D1A5D93}"/>
          </ac:spMkLst>
        </pc:spChg>
        <pc:spChg chg="add del mod modVis">
          <ac:chgData name="Dimitri Militschenko" userId="2698819e-f51f-4938-ae1b-875ffc6b70b6" providerId="ADAL" clId="{FD29A0DF-19ED-4E4C-80D1-5BAE79E5A100}" dt="2024-06-07T09:42:23.801" v="484" actId="962"/>
          <ac:spMkLst>
            <pc:docMk/>
            <pc:sldMk cId="2389000172" sldId="266"/>
            <ac:spMk id="11" creationId="{B77A1AA0-ACC7-4F12-DA78-DDDD51B60E3C}"/>
          </ac:spMkLst>
        </pc:spChg>
        <pc:graphicFrameChg chg="mod">
          <ac:chgData name="Dimitri Militschenko" userId="2698819e-f51f-4938-ae1b-875ffc6b70b6" providerId="ADAL" clId="{FD29A0DF-19ED-4E4C-80D1-5BAE79E5A100}" dt="2024-06-07T09:42:23.808" v="488"/>
          <ac:graphicFrameMkLst>
            <pc:docMk/>
            <pc:sldMk cId="2389000172" sldId="266"/>
            <ac:graphicFrameMk id="7" creationId="{86CC1DF6-00DD-4FBE-B9CB-B5D097381298}"/>
          </ac:graphicFrameMkLst>
        </pc:graphicFrameChg>
      </pc:sldChg>
      <pc:sldChg chg="addSp delSp modSp mod">
        <pc:chgData name="Dimitri Militschenko" userId="2698819e-f51f-4938-ae1b-875ffc6b70b6" providerId="ADAL" clId="{FD29A0DF-19ED-4E4C-80D1-5BAE79E5A100}" dt="2024-06-07T09:09:33.422" v="37" actId="1076"/>
        <pc:sldMkLst>
          <pc:docMk/>
          <pc:sldMk cId="1325671312" sldId="267"/>
        </pc:sldMkLst>
        <pc:spChg chg="add mod">
          <ac:chgData name="Dimitri Militschenko" userId="2698819e-f51f-4938-ae1b-875ffc6b70b6" providerId="ADAL" clId="{FD29A0DF-19ED-4E4C-80D1-5BAE79E5A100}" dt="2024-06-07T09:09:23.738" v="33" actId="1076"/>
          <ac:spMkLst>
            <pc:docMk/>
            <pc:sldMk cId="1325671312" sldId="267"/>
            <ac:spMk id="6" creationId="{35CFDC91-23C4-7C66-A66A-EFC121B3F93D}"/>
          </ac:spMkLst>
        </pc:spChg>
        <pc:spChg chg="add mod">
          <ac:chgData name="Dimitri Militschenko" userId="2698819e-f51f-4938-ae1b-875ffc6b70b6" providerId="ADAL" clId="{FD29A0DF-19ED-4E4C-80D1-5BAE79E5A100}" dt="2024-06-07T09:09:33.422" v="37" actId="1076"/>
          <ac:spMkLst>
            <pc:docMk/>
            <pc:sldMk cId="1325671312" sldId="267"/>
            <ac:spMk id="7" creationId="{02D268C4-EBA3-C4C2-803A-1BA7A89826FE}"/>
          </ac:spMkLst>
        </pc:spChg>
        <pc:spChg chg="del">
          <ac:chgData name="Dimitri Militschenko" userId="2698819e-f51f-4938-ae1b-875ffc6b70b6" providerId="ADAL" clId="{FD29A0DF-19ED-4E4C-80D1-5BAE79E5A100}" dt="2024-06-07T09:09:12.578" v="31" actId="478"/>
          <ac:spMkLst>
            <pc:docMk/>
            <pc:sldMk cId="1325671312" sldId="267"/>
            <ac:spMk id="10" creationId="{91163916-DCFC-49C1-BEEE-6C87030502C2}"/>
          </ac:spMkLst>
        </pc:spChg>
        <pc:spChg chg="del">
          <ac:chgData name="Dimitri Militschenko" userId="2698819e-f51f-4938-ae1b-875ffc6b70b6" providerId="ADAL" clId="{FD29A0DF-19ED-4E4C-80D1-5BAE79E5A100}" dt="2024-06-07T09:09:11.625" v="30" actId="478"/>
          <ac:spMkLst>
            <pc:docMk/>
            <pc:sldMk cId="1325671312" sldId="267"/>
            <ac:spMk id="12" creationId="{A4C187FB-BF2A-42E9-8046-2E55810EA5FE}"/>
          </ac:spMkLst>
        </pc:spChg>
        <pc:picChg chg="mod">
          <ac:chgData name="Dimitri Militschenko" userId="2698819e-f51f-4938-ae1b-875ffc6b70b6" providerId="ADAL" clId="{FD29A0DF-19ED-4E4C-80D1-5BAE79E5A100}" dt="2024-06-07T09:08:59.675" v="29" actId="14826"/>
          <ac:picMkLst>
            <pc:docMk/>
            <pc:sldMk cId="1325671312" sldId="267"/>
            <ac:picMk id="4" creationId="{E5DB18C1-FF95-4085-A97E-89EC374C183C}"/>
          </ac:picMkLst>
        </pc:picChg>
      </pc:sldChg>
      <pc:sldChg chg="addSp delSp modSp mod">
        <pc:chgData name="Dimitri Militschenko" userId="2698819e-f51f-4938-ae1b-875ffc6b70b6" providerId="ADAL" clId="{FD29A0DF-19ED-4E4C-80D1-5BAE79E5A100}" dt="2024-06-07T09:21:06.417" v="100" actId="1076"/>
        <pc:sldMkLst>
          <pc:docMk/>
          <pc:sldMk cId="3857656806" sldId="268"/>
        </pc:sldMkLst>
        <pc:spChg chg="del mod">
          <ac:chgData name="Dimitri Militschenko" userId="2698819e-f51f-4938-ae1b-875ffc6b70b6" providerId="ADAL" clId="{FD29A0DF-19ED-4E4C-80D1-5BAE79E5A100}" dt="2024-06-07T09:07:53.450" v="22" actId="478"/>
          <ac:spMkLst>
            <pc:docMk/>
            <pc:sldMk cId="3857656806" sldId="268"/>
            <ac:spMk id="6" creationId="{F022083A-F44D-4E35-8C00-90028792AB02}"/>
          </ac:spMkLst>
        </pc:spChg>
        <pc:spChg chg="add mod">
          <ac:chgData name="Dimitri Militschenko" userId="2698819e-f51f-4938-ae1b-875ffc6b70b6" providerId="ADAL" clId="{FD29A0DF-19ED-4E4C-80D1-5BAE79E5A100}" dt="2024-06-07T09:07:58.697" v="24" actId="1076"/>
          <ac:spMkLst>
            <pc:docMk/>
            <pc:sldMk cId="3857656806" sldId="268"/>
            <ac:spMk id="9" creationId="{4FD84C1D-11EE-BECF-66C2-4953F913B53B}"/>
          </ac:spMkLst>
        </pc:spChg>
        <pc:picChg chg="add del mod">
          <ac:chgData name="Dimitri Militschenko" userId="2698819e-f51f-4938-ae1b-875ffc6b70b6" providerId="ADAL" clId="{FD29A0DF-19ED-4E4C-80D1-5BAE79E5A100}" dt="2024-06-07T09:06:47.764" v="10" actId="478"/>
          <ac:picMkLst>
            <pc:docMk/>
            <pc:sldMk cId="3857656806" sldId="268"/>
            <ac:picMk id="3" creationId="{9CA1A22A-441B-0529-4C10-49945A43301C}"/>
          </ac:picMkLst>
        </pc:picChg>
        <pc:picChg chg="mod">
          <ac:chgData name="Dimitri Militschenko" userId="2698819e-f51f-4938-ae1b-875ffc6b70b6" providerId="ADAL" clId="{FD29A0DF-19ED-4E4C-80D1-5BAE79E5A100}" dt="2024-06-07T09:21:06.417" v="100" actId="1076"/>
          <ac:picMkLst>
            <pc:docMk/>
            <pc:sldMk cId="3857656806" sldId="268"/>
            <ac:picMk id="5" creationId="{F7CDB726-8FD1-45A1-BC5E-5AECFDDD5C3D}"/>
          </ac:picMkLst>
        </pc:picChg>
        <pc:picChg chg="add mod">
          <ac:chgData name="Dimitri Militschenko" userId="2698819e-f51f-4938-ae1b-875ffc6b70b6" providerId="ADAL" clId="{FD29A0DF-19ED-4E4C-80D1-5BAE79E5A100}" dt="2024-06-07T09:07:43.068" v="18" actId="1076"/>
          <ac:picMkLst>
            <pc:docMk/>
            <pc:sldMk cId="3857656806" sldId="268"/>
            <ac:picMk id="8" creationId="{5D1C1C45-1CCA-2E6D-524C-593A30B1AD86}"/>
          </ac:picMkLst>
        </pc:picChg>
      </pc:sldChg>
      <pc:sldChg chg="modSp mod">
        <pc:chgData name="Dimitri Militschenko" userId="2698819e-f51f-4938-ae1b-875ffc6b70b6" providerId="ADAL" clId="{FD29A0DF-19ED-4E4C-80D1-5BAE79E5A100}" dt="2024-06-07T09:20:27.624" v="98" actId="14826"/>
        <pc:sldMkLst>
          <pc:docMk/>
          <pc:sldMk cId="1595703888" sldId="2147474933"/>
        </pc:sldMkLst>
        <pc:spChg chg="mod">
          <ac:chgData name="Dimitri Militschenko" userId="2698819e-f51f-4938-ae1b-875ffc6b70b6" providerId="ADAL" clId="{FD29A0DF-19ED-4E4C-80D1-5BAE79E5A100}" dt="2024-06-07T09:20:22.144" v="90" actId="1076"/>
          <ac:spMkLst>
            <pc:docMk/>
            <pc:sldMk cId="1595703888" sldId="2147474933"/>
            <ac:spMk id="2" creationId="{F4AA4937-101B-87F3-2347-324F536E1D33}"/>
          </ac:spMkLst>
        </pc:spChg>
        <pc:spChg chg="mod">
          <ac:chgData name="Dimitri Militschenko" userId="2698819e-f51f-4938-ae1b-875ffc6b70b6" providerId="ADAL" clId="{FD29A0DF-19ED-4E4C-80D1-5BAE79E5A100}" dt="2024-06-07T09:20:21.426" v="88" actId="1076"/>
          <ac:spMkLst>
            <pc:docMk/>
            <pc:sldMk cId="1595703888" sldId="2147474933"/>
            <ac:spMk id="97" creationId="{9E4F75E8-8225-4FA1-8EA8-1512A38292F4}"/>
          </ac:spMkLst>
        </pc:spChg>
        <pc:spChg chg="mod">
          <ac:chgData name="Dimitri Militschenko" userId="2698819e-f51f-4938-ae1b-875ffc6b70b6" providerId="ADAL" clId="{FD29A0DF-19ED-4E4C-80D1-5BAE79E5A100}" dt="2024-06-07T09:20:22.559" v="91" actId="1076"/>
          <ac:spMkLst>
            <pc:docMk/>
            <pc:sldMk cId="1595703888" sldId="2147474933"/>
            <ac:spMk id="98" creationId="{064C2B75-EBEA-4B3D-8FE8-6AD31D2A7F68}"/>
          </ac:spMkLst>
        </pc:spChg>
        <pc:picChg chg="mod">
          <ac:chgData name="Dimitri Militschenko" userId="2698819e-f51f-4938-ae1b-875ffc6b70b6" providerId="ADAL" clId="{FD29A0DF-19ED-4E4C-80D1-5BAE79E5A100}" dt="2024-06-07T09:20:21.777" v="89" actId="14826"/>
          <ac:picMkLst>
            <pc:docMk/>
            <pc:sldMk cId="1595703888" sldId="2147474933"/>
            <ac:picMk id="7" creationId="{3B7E9843-47AD-BBDB-AA54-E167A90035B5}"/>
          </ac:picMkLst>
        </pc:picChg>
        <pc:picChg chg="mod">
          <ac:chgData name="Dimitri Militschenko" userId="2698819e-f51f-4938-ae1b-875ffc6b70b6" providerId="ADAL" clId="{FD29A0DF-19ED-4E4C-80D1-5BAE79E5A100}" dt="2024-06-07T09:20:27.624" v="98" actId="14826"/>
          <ac:picMkLst>
            <pc:docMk/>
            <pc:sldMk cId="1595703888" sldId="2147474933"/>
            <ac:picMk id="9" creationId="{EAD6C100-6BD1-4360-9C0A-DEBF96B0272F}"/>
          </ac:picMkLst>
        </pc:picChg>
      </pc:sldChg>
      <pc:sldChg chg="modSp mod">
        <pc:chgData name="Dimitri Militschenko" userId="2698819e-f51f-4938-ae1b-875ffc6b70b6" providerId="ADAL" clId="{FD29A0DF-19ED-4E4C-80D1-5BAE79E5A100}" dt="2024-06-07T09:20:25.612" v="96" actId="6549"/>
        <pc:sldMkLst>
          <pc:docMk/>
          <pc:sldMk cId="40899146" sldId="2147474934"/>
        </pc:sldMkLst>
        <pc:spChg chg="mod">
          <ac:chgData name="Dimitri Militschenko" userId="2698819e-f51f-4938-ae1b-875ffc6b70b6" providerId="ADAL" clId="{FD29A0DF-19ED-4E4C-80D1-5BAE79E5A100}" dt="2024-06-07T09:20:25.612" v="96" actId="6549"/>
          <ac:spMkLst>
            <pc:docMk/>
            <pc:sldMk cId="40899146" sldId="2147474934"/>
            <ac:spMk id="7" creationId="{590103BA-0763-4FFE-A610-DEFAD9577D1C}"/>
          </ac:spMkLst>
        </pc:spChg>
      </pc:sldChg>
      <pc:sldChg chg="modSp add del mod">
        <pc:chgData name="Dimitri Militschenko" userId="2698819e-f51f-4938-ae1b-875ffc6b70b6" providerId="ADAL" clId="{FD29A0DF-19ED-4E4C-80D1-5BAE79E5A100}" dt="2024-06-07T09:08:10.461" v="25" actId="47"/>
        <pc:sldMkLst>
          <pc:docMk/>
          <pc:sldMk cId="1324265379" sldId="2147474936"/>
        </pc:sldMkLst>
        <pc:picChg chg="mod modCrop">
          <ac:chgData name="Dimitri Militschenko" userId="2698819e-f51f-4938-ae1b-875ffc6b70b6" providerId="ADAL" clId="{FD29A0DF-19ED-4E4C-80D1-5BAE79E5A100}" dt="2024-06-07T09:06:56.276" v="11" actId="732"/>
          <ac:picMkLst>
            <pc:docMk/>
            <pc:sldMk cId="1324265379" sldId="2147474936"/>
            <ac:picMk id="5" creationId="{F7CDB726-8FD1-45A1-BC5E-5AECFDDD5C3D}"/>
          </ac:picMkLst>
        </pc:picChg>
      </pc:sldChg>
      <pc:sldChg chg="add del">
        <pc:chgData name="Dimitri Militschenko" userId="2698819e-f51f-4938-ae1b-875ffc6b70b6" providerId="ADAL" clId="{FD29A0DF-19ED-4E4C-80D1-5BAE79E5A100}" dt="2024-06-07T09:09:59.269" v="38" actId="47"/>
        <pc:sldMkLst>
          <pc:docMk/>
          <pc:sldMk cId="2056726860" sldId="2147474936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575447-FF91-403A-87DA-AA5C1597B6A7}" type="datetimeFigureOut">
              <a:rPr lang="nl-NL" smtClean="0"/>
              <a:t>3-7-2024</a:t>
            </a:fld>
            <a:endParaRPr lang="nl-NL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EBDC015-A209-45C5-9B46-5FC5C3A697D2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88015359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x-non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85DEEE3-E309-D349-8C20-57C71CD85C02}" type="datetimeFigureOut">
              <a:rPr lang="x-none" smtClean="0"/>
              <a:t>03.07.2024</a:t>
            </a:fld>
            <a:endParaRPr lang="x-non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x-non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x-non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x-non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D8CA4D0-5719-7047-8FA7-C4CEECD20671}" type="slidenum">
              <a:rPr lang="x-none" smtClean="0"/>
              <a:t>‹Nr.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23618352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| nur Tite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147D943-92F0-499A-A4BB-FA1783BFF1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49097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4" progId="TCLayout.ActiveDocument.1">
                  <p:embed/>
                </p:oleObj>
              </mc:Choice>
              <mc:Fallback>
                <p:oleObj name="think-cell Folie" r:id="rId3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147D943-92F0-499A-A4BB-FA1783BFF1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Google Shape;34;p30" descr="Google Shape;590;p108">
            <a:extLst>
              <a:ext uri="{FF2B5EF4-FFF2-40B4-BE49-F238E27FC236}">
                <a16:creationId xmlns:a16="http://schemas.microsoft.com/office/drawing/2014/main" id="{F77CFE65-B9E1-2C4B-B75F-2BA8323AD6C1}"/>
              </a:ext>
            </a:extLst>
          </p:cNvPr>
          <p:cNvPicPr preferRelativeResize="0"/>
          <p:nvPr userDrawn="1"/>
        </p:nvPicPr>
        <p:blipFill rotWithShape="1">
          <a:blip r:embed="rId5">
            <a:alphaModFix/>
          </a:blip>
          <a:srcRect t="12379" b="52729"/>
          <a:stretch/>
        </p:blipFill>
        <p:spPr>
          <a:xfrm>
            <a:off x="4214373" y="3513866"/>
            <a:ext cx="715253" cy="1629634"/>
          </a:xfrm>
          <a:prstGeom prst="rect">
            <a:avLst/>
          </a:prstGeom>
          <a:noFill/>
          <a:ln>
            <a:noFill/>
          </a:ln>
        </p:spPr>
      </p:pic>
      <p:sp>
        <p:nvSpPr>
          <p:cNvPr id="16" name="Google Shape;35;p30">
            <a:extLst>
              <a:ext uri="{FF2B5EF4-FFF2-40B4-BE49-F238E27FC236}">
                <a16:creationId xmlns:a16="http://schemas.microsoft.com/office/drawing/2014/main" id="{0AFF12DE-C535-244C-9133-7A8ACDA5FAAD}"/>
              </a:ext>
            </a:extLst>
          </p:cNvPr>
          <p:cNvSpPr/>
          <p:nvPr userDrawn="1"/>
        </p:nvSpPr>
        <p:spPr>
          <a:xfrm rot="10800000" flipH="1">
            <a:off x="4402979" y="3088803"/>
            <a:ext cx="338039" cy="338039"/>
          </a:xfrm>
          <a:prstGeom prst="ellipse">
            <a:avLst/>
          </a:prstGeom>
          <a:solidFill>
            <a:srgbClr val="FF860D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20DD98EB-8C32-A544-A560-B116E2AF37B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4989" y="2340686"/>
            <a:ext cx="8120538" cy="528794"/>
          </a:xfrm>
        </p:spPr>
        <p:txBody>
          <a:bodyPr vert="horz" wrap="square" anchor="b" anchorCtr="0">
            <a:normAutofit/>
          </a:bodyPr>
          <a:lstStyle>
            <a:lvl1pPr algn="ctr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NL" dirty="0"/>
          </a:p>
        </p:txBody>
      </p:sp>
      <p:pic>
        <p:nvPicPr>
          <p:cNvPr id="8" name="Afbeelding 3">
            <a:extLst>
              <a:ext uri="{FF2B5EF4-FFF2-40B4-BE49-F238E27FC236}">
                <a16:creationId xmlns:a16="http://schemas.microsoft.com/office/drawing/2014/main" id="{ECCBA166-02D1-F941-A2C6-223A96E4192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3335" y="4743578"/>
            <a:ext cx="634737" cy="24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783153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180866" y="1001728"/>
            <a:ext cx="6430600" cy="2783891"/>
          </a:xfrm>
        </p:spPr>
        <p:txBody>
          <a:bodyPr anchor="ctr" anchorCtr="0"/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NL" dirty="0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206F21EC-D05F-6743-A41E-4A396F08FD31}"/>
              </a:ext>
            </a:extLst>
          </p:cNvPr>
          <p:cNvSpPr txBox="1">
            <a:spLocks/>
          </p:cNvSpPr>
          <p:nvPr userDrawn="1"/>
        </p:nvSpPr>
        <p:spPr>
          <a:xfrm>
            <a:off x="770901" y="1072513"/>
            <a:ext cx="549899" cy="6111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sz="6600" dirty="0">
                <a:solidFill>
                  <a:schemeClr val="tx2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7E2A608D-37E6-7C40-96C7-CDB45CEE16AD}"/>
              </a:ext>
            </a:extLst>
          </p:cNvPr>
          <p:cNvSpPr txBox="1">
            <a:spLocks/>
          </p:cNvSpPr>
          <p:nvPr userDrawn="1"/>
        </p:nvSpPr>
        <p:spPr>
          <a:xfrm rot="10800000">
            <a:off x="7562183" y="3785619"/>
            <a:ext cx="459248" cy="6111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r"/>
            <a:r>
              <a:rPr lang="en-US" sz="6600" dirty="0">
                <a:solidFill>
                  <a:schemeClr val="tx2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“</a:t>
            </a:r>
          </a:p>
        </p:txBody>
      </p:sp>
    </p:spTree>
    <p:extLst>
      <p:ext uri="{BB962C8B-B14F-4D97-AF65-F5344CB8AC3E}">
        <p14:creationId xmlns:p14="http://schemas.microsoft.com/office/powerpoint/2010/main" val="332754120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+ Untertitel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tekst 5"/>
          <p:cNvSpPr>
            <a:spLocks noGrp="1"/>
          </p:cNvSpPr>
          <p:nvPr>
            <p:ph type="body" sz="quarter" idx="32"/>
          </p:nvPr>
        </p:nvSpPr>
        <p:spPr>
          <a:xfrm>
            <a:off x="460374" y="1781175"/>
            <a:ext cx="8188325" cy="2762250"/>
          </a:xfrm>
        </p:spPr>
        <p:txBody>
          <a:bodyPr/>
          <a:lstStyle>
            <a:lvl1pPr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70410" y="165671"/>
            <a:ext cx="8178290" cy="540000"/>
          </a:xfrm>
        </p:spPr>
        <p:txBody>
          <a:bodyPr/>
          <a:lstStyle>
            <a:lvl1pPr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NL" dirty="0"/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A826E10C-9F3B-EB43-9D06-8E62210F9A8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70410" y="815163"/>
            <a:ext cx="8120538" cy="320400"/>
          </a:xfrm>
        </p:spPr>
        <p:txBody>
          <a:bodyPr lIns="46800" anchor="t"/>
          <a:lstStyle>
            <a:lvl1pPr algn="l">
              <a:defRPr sz="1000">
                <a:solidFill>
                  <a:schemeClr val="tx2"/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5338408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+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A826E10C-9F3B-EB43-9D06-8E62210F9A8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70410" y="815163"/>
            <a:ext cx="8120538" cy="320400"/>
          </a:xfrm>
        </p:spPr>
        <p:txBody>
          <a:bodyPr lIns="46800" anchor="t"/>
          <a:lstStyle>
            <a:lvl1pPr algn="l">
              <a:defRPr sz="1000">
                <a:solidFill>
                  <a:schemeClr val="tx2"/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800"/>
            </a:lvl1pPr>
          </a:lstStyle>
          <a:p>
            <a:r>
              <a:rPr lang="en-US"/>
              <a:t>Click to edit Master title styl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15504608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10">
            <a:extLst>
              <a:ext uri="{FF2B5EF4-FFF2-40B4-BE49-F238E27FC236}">
                <a16:creationId xmlns:a16="http://schemas.microsoft.com/office/drawing/2014/main" id="{9FD8CCB3-5FAD-4200-8020-9CA93D6FCFCE}"/>
              </a:ext>
            </a:extLst>
          </p:cNvPr>
          <p:cNvSpPr/>
          <p:nvPr userDrawn="1"/>
        </p:nvSpPr>
        <p:spPr>
          <a:xfrm>
            <a:off x="0" y="0"/>
            <a:ext cx="2677363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000" dirty="0" err="1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678369"/>
            <a:ext cx="2048256" cy="109010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NL" dirty="0"/>
          </a:p>
        </p:txBody>
      </p:sp>
      <p:sp>
        <p:nvSpPr>
          <p:cNvPr id="33" name="Google Shape;529;p5">
            <a:extLst>
              <a:ext uri="{FF2B5EF4-FFF2-40B4-BE49-F238E27FC236}">
                <a16:creationId xmlns:a16="http://schemas.microsoft.com/office/drawing/2014/main" id="{78828824-1475-FC48-8BE5-2A71F4EA041B}"/>
              </a:ext>
            </a:extLst>
          </p:cNvPr>
          <p:cNvSpPr txBox="1">
            <a:spLocks noGrp="1"/>
          </p:cNvSpPr>
          <p:nvPr>
            <p:ph type="body" idx="38"/>
          </p:nvPr>
        </p:nvSpPr>
        <p:spPr>
          <a:xfrm>
            <a:off x="3663390" y="278223"/>
            <a:ext cx="3833824" cy="2873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>
              <a:lnSpc>
                <a:spcPct val="100000"/>
              </a:lnSpc>
              <a:defRPr sz="1600" b="1">
                <a:solidFill>
                  <a:schemeClr val="tx1"/>
                </a:solidFill>
              </a:defRPr>
            </a:lvl1pPr>
          </a:lstStyle>
          <a:p>
            <a:pPr marL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36" name="Tijdelijke aanduiding voor tekst 3"/>
          <p:cNvSpPr>
            <a:spLocks noGrp="1"/>
          </p:cNvSpPr>
          <p:nvPr>
            <p:ph type="body" sz="quarter" idx="43" hasCustomPrompt="1"/>
          </p:nvPr>
        </p:nvSpPr>
        <p:spPr>
          <a:xfrm>
            <a:off x="3363224" y="341554"/>
            <a:ext cx="223467" cy="223467"/>
          </a:xfrm>
          <a:prstGeom prst="ellipse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200"/>
            </a:lvl5pPr>
          </a:lstStyle>
          <a:p>
            <a:pPr lvl="0"/>
            <a:r>
              <a:rPr lang="nl-NL" dirty="0"/>
              <a:t> </a:t>
            </a:r>
          </a:p>
        </p:txBody>
      </p:sp>
      <p:sp>
        <p:nvSpPr>
          <p:cNvPr id="41" name="Google Shape;529;p5">
            <a:extLst>
              <a:ext uri="{FF2B5EF4-FFF2-40B4-BE49-F238E27FC236}">
                <a16:creationId xmlns:a16="http://schemas.microsoft.com/office/drawing/2014/main" id="{78828824-1475-FC48-8BE5-2A71F4EA041B}"/>
              </a:ext>
            </a:extLst>
          </p:cNvPr>
          <p:cNvSpPr txBox="1">
            <a:spLocks noGrp="1"/>
          </p:cNvSpPr>
          <p:nvPr>
            <p:ph type="body" idx="44"/>
          </p:nvPr>
        </p:nvSpPr>
        <p:spPr>
          <a:xfrm>
            <a:off x="3663390" y="813797"/>
            <a:ext cx="3833824" cy="2873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marL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43" name="Tijdelijke aanduiding voor tekst 3"/>
          <p:cNvSpPr>
            <a:spLocks noGrp="1"/>
          </p:cNvSpPr>
          <p:nvPr>
            <p:ph type="body" sz="quarter" idx="46" hasCustomPrompt="1"/>
          </p:nvPr>
        </p:nvSpPr>
        <p:spPr>
          <a:xfrm>
            <a:off x="3363224" y="876207"/>
            <a:ext cx="223467" cy="223467"/>
          </a:xfrm>
          <a:prstGeom prst="ellipse">
            <a:avLst/>
          </a:prstGeom>
          <a:solidFill>
            <a:schemeClr val="accent4"/>
          </a:solidFill>
        </p:spPr>
        <p:txBody>
          <a:bodyPr/>
          <a:lstStyle>
            <a:lvl1pPr>
              <a:defRPr sz="12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200"/>
            </a:lvl5pPr>
          </a:lstStyle>
          <a:p>
            <a:pPr lvl="0"/>
            <a:r>
              <a:rPr lang="nl-NL" dirty="0"/>
              <a:t> </a:t>
            </a:r>
          </a:p>
        </p:txBody>
      </p:sp>
      <p:sp>
        <p:nvSpPr>
          <p:cNvPr id="46" name="Tijdelijke aanduiding voor tekst 3"/>
          <p:cNvSpPr>
            <a:spLocks noGrp="1"/>
          </p:cNvSpPr>
          <p:nvPr>
            <p:ph type="body" sz="quarter" idx="49" hasCustomPrompt="1"/>
          </p:nvPr>
        </p:nvSpPr>
        <p:spPr>
          <a:xfrm>
            <a:off x="3363224" y="1416985"/>
            <a:ext cx="223467" cy="223467"/>
          </a:xfrm>
          <a:prstGeom prst="ellipse">
            <a:avLst/>
          </a:prstGeom>
          <a:solidFill>
            <a:schemeClr val="accent6"/>
          </a:solidFill>
        </p:spPr>
        <p:txBody>
          <a:bodyPr/>
          <a:lstStyle>
            <a:lvl1pPr>
              <a:defRPr sz="12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200"/>
            </a:lvl5pPr>
          </a:lstStyle>
          <a:p>
            <a:pPr lvl="0"/>
            <a:r>
              <a:rPr lang="nl-NL" dirty="0"/>
              <a:t> </a:t>
            </a:r>
          </a:p>
        </p:txBody>
      </p:sp>
      <p:sp>
        <p:nvSpPr>
          <p:cNvPr id="47" name="Google Shape;529;p5">
            <a:extLst>
              <a:ext uri="{FF2B5EF4-FFF2-40B4-BE49-F238E27FC236}">
                <a16:creationId xmlns:a16="http://schemas.microsoft.com/office/drawing/2014/main" id="{78828824-1475-FC48-8BE5-2A71F4EA041B}"/>
              </a:ext>
            </a:extLst>
          </p:cNvPr>
          <p:cNvSpPr txBox="1">
            <a:spLocks noGrp="1"/>
          </p:cNvSpPr>
          <p:nvPr>
            <p:ph type="body" idx="50"/>
          </p:nvPr>
        </p:nvSpPr>
        <p:spPr>
          <a:xfrm>
            <a:off x="3663390" y="1880617"/>
            <a:ext cx="3833824" cy="2873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marL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49" name="Tijdelijke aanduiding voor tekst 3"/>
          <p:cNvSpPr>
            <a:spLocks noGrp="1"/>
          </p:cNvSpPr>
          <p:nvPr>
            <p:ph type="body" sz="quarter" idx="52" hasCustomPrompt="1"/>
          </p:nvPr>
        </p:nvSpPr>
        <p:spPr>
          <a:xfrm>
            <a:off x="3363224" y="1940290"/>
            <a:ext cx="223467" cy="223467"/>
          </a:xfrm>
          <a:prstGeom prst="ellipse">
            <a:avLst/>
          </a:prstGeom>
          <a:solidFill>
            <a:schemeClr val="accent5"/>
          </a:solidFill>
        </p:spPr>
        <p:txBody>
          <a:bodyPr/>
          <a:lstStyle>
            <a:lvl1pPr>
              <a:defRPr sz="12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200"/>
            </a:lvl5pPr>
          </a:lstStyle>
          <a:p>
            <a:pPr lvl="0"/>
            <a:r>
              <a:rPr lang="nl-NL" dirty="0"/>
              <a:t> </a:t>
            </a:r>
          </a:p>
        </p:txBody>
      </p:sp>
      <p:sp>
        <p:nvSpPr>
          <p:cNvPr id="25" name="Google Shape;529;p5">
            <a:extLst>
              <a:ext uri="{FF2B5EF4-FFF2-40B4-BE49-F238E27FC236}">
                <a16:creationId xmlns:a16="http://schemas.microsoft.com/office/drawing/2014/main" id="{78828824-1475-FC48-8BE5-2A71F4EA041B}"/>
              </a:ext>
            </a:extLst>
          </p:cNvPr>
          <p:cNvSpPr txBox="1">
            <a:spLocks noGrp="1"/>
          </p:cNvSpPr>
          <p:nvPr>
            <p:ph type="body" idx="53"/>
          </p:nvPr>
        </p:nvSpPr>
        <p:spPr>
          <a:xfrm>
            <a:off x="3663390" y="2407519"/>
            <a:ext cx="3833824" cy="2873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marL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28" name="Tijdelijke aanduiding voor tekst 3"/>
          <p:cNvSpPr>
            <a:spLocks noGrp="1"/>
          </p:cNvSpPr>
          <p:nvPr>
            <p:ph type="body" sz="quarter" idx="55" hasCustomPrompt="1"/>
          </p:nvPr>
        </p:nvSpPr>
        <p:spPr>
          <a:xfrm>
            <a:off x="3363224" y="2466155"/>
            <a:ext cx="223467" cy="223467"/>
          </a:xfrm>
          <a:prstGeom prst="ellipse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200"/>
            </a:lvl5pPr>
          </a:lstStyle>
          <a:p>
            <a:pPr lvl="0"/>
            <a:r>
              <a:rPr lang="nl-NL" dirty="0"/>
              <a:t> </a:t>
            </a:r>
          </a:p>
        </p:txBody>
      </p:sp>
      <p:sp>
        <p:nvSpPr>
          <p:cNvPr id="29" name="Google Shape;529;p5">
            <a:extLst>
              <a:ext uri="{FF2B5EF4-FFF2-40B4-BE49-F238E27FC236}">
                <a16:creationId xmlns:a16="http://schemas.microsoft.com/office/drawing/2014/main" id="{78828824-1475-FC48-8BE5-2A71F4EA041B}"/>
              </a:ext>
            </a:extLst>
          </p:cNvPr>
          <p:cNvSpPr txBox="1">
            <a:spLocks noGrp="1"/>
          </p:cNvSpPr>
          <p:nvPr>
            <p:ph type="body" idx="56"/>
          </p:nvPr>
        </p:nvSpPr>
        <p:spPr>
          <a:xfrm>
            <a:off x="3663390" y="2934421"/>
            <a:ext cx="3833824" cy="2873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marL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31" name="Tijdelijke aanduiding voor tekst 3"/>
          <p:cNvSpPr>
            <a:spLocks noGrp="1"/>
          </p:cNvSpPr>
          <p:nvPr>
            <p:ph type="body" sz="quarter" idx="58" hasCustomPrompt="1"/>
          </p:nvPr>
        </p:nvSpPr>
        <p:spPr>
          <a:xfrm>
            <a:off x="3363224" y="2994094"/>
            <a:ext cx="223467" cy="223467"/>
          </a:xfrm>
          <a:prstGeom prst="ellipse">
            <a:avLst/>
          </a:prstGeom>
          <a:solidFill>
            <a:schemeClr val="accent4"/>
          </a:solidFill>
        </p:spPr>
        <p:txBody>
          <a:bodyPr/>
          <a:lstStyle>
            <a:lvl1pPr>
              <a:defRPr sz="12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200"/>
            </a:lvl5pPr>
          </a:lstStyle>
          <a:p>
            <a:pPr lvl="0"/>
            <a:r>
              <a:rPr lang="nl-NL" dirty="0"/>
              <a:t> </a:t>
            </a:r>
          </a:p>
        </p:txBody>
      </p:sp>
      <p:sp>
        <p:nvSpPr>
          <p:cNvPr id="23" name="Google Shape;529;p5">
            <a:extLst>
              <a:ext uri="{FF2B5EF4-FFF2-40B4-BE49-F238E27FC236}">
                <a16:creationId xmlns:a16="http://schemas.microsoft.com/office/drawing/2014/main" id="{EC87B6DB-51C0-BF40-94D8-6C24EFBC90EE}"/>
              </a:ext>
            </a:extLst>
          </p:cNvPr>
          <p:cNvSpPr txBox="1">
            <a:spLocks noGrp="1"/>
          </p:cNvSpPr>
          <p:nvPr>
            <p:ph type="body" idx="59"/>
          </p:nvPr>
        </p:nvSpPr>
        <p:spPr>
          <a:xfrm>
            <a:off x="3663390" y="3461323"/>
            <a:ext cx="3833824" cy="2873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marL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26" name="Tijdelijke aanduiding voor tekst 3">
            <a:extLst>
              <a:ext uri="{FF2B5EF4-FFF2-40B4-BE49-F238E27FC236}">
                <a16:creationId xmlns:a16="http://schemas.microsoft.com/office/drawing/2014/main" id="{094FCD57-E61F-424E-8D05-FBF0E60BAA01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3363224" y="3519959"/>
            <a:ext cx="223467" cy="223467"/>
          </a:xfrm>
          <a:prstGeom prst="ellipse">
            <a:avLst/>
          </a:prstGeom>
          <a:solidFill>
            <a:schemeClr val="accent6"/>
          </a:solidFill>
        </p:spPr>
        <p:txBody>
          <a:bodyPr/>
          <a:lstStyle>
            <a:lvl1pPr>
              <a:defRPr sz="12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200"/>
            </a:lvl5pPr>
          </a:lstStyle>
          <a:p>
            <a:pPr lvl="0"/>
            <a:r>
              <a:rPr lang="nl-NL" dirty="0"/>
              <a:t> </a:t>
            </a:r>
          </a:p>
        </p:txBody>
      </p:sp>
      <p:sp>
        <p:nvSpPr>
          <p:cNvPr id="37" name="Google Shape;529;p5">
            <a:extLst>
              <a:ext uri="{FF2B5EF4-FFF2-40B4-BE49-F238E27FC236}">
                <a16:creationId xmlns:a16="http://schemas.microsoft.com/office/drawing/2014/main" id="{533A7908-3E83-9F42-97F6-AAD0205AED03}"/>
              </a:ext>
            </a:extLst>
          </p:cNvPr>
          <p:cNvSpPr txBox="1">
            <a:spLocks noGrp="1"/>
          </p:cNvSpPr>
          <p:nvPr>
            <p:ph type="body" idx="61"/>
          </p:nvPr>
        </p:nvSpPr>
        <p:spPr>
          <a:xfrm>
            <a:off x="3663390" y="3988225"/>
            <a:ext cx="3833824" cy="2873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marL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38" name="Tijdelijke aanduiding voor tekst 3">
            <a:extLst>
              <a:ext uri="{FF2B5EF4-FFF2-40B4-BE49-F238E27FC236}">
                <a16:creationId xmlns:a16="http://schemas.microsoft.com/office/drawing/2014/main" id="{C1130F61-4353-D448-90E8-069B417DE9B0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3363224" y="4047898"/>
            <a:ext cx="223467" cy="223467"/>
          </a:xfrm>
          <a:prstGeom prst="ellipse">
            <a:avLst/>
          </a:prstGeom>
          <a:solidFill>
            <a:schemeClr val="accent5"/>
          </a:solidFill>
        </p:spPr>
        <p:txBody>
          <a:bodyPr/>
          <a:lstStyle>
            <a:lvl1pPr>
              <a:defRPr sz="12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200"/>
            </a:lvl5pPr>
          </a:lstStyle>
          <a:p>
            <a:pPr lvl="0"/>
            <a:r>
              <a:rPr lang="nl-NL" dirty="0"/>
              <a:t> </a:t>
            </a:r>
          </a:p>
        </p:txBody>
      </p:sp>
      <p:sp>
        <p:nvSpPr>
          <p:cNvPr id="39" name="Google Shape;529;p5">
            <a:extLst>
              <a:ext uri="{FF2B5EF4-FFF2-40B4-BE49-F238E27FC236}">
                <a16:creationId xmlns:a16="http://schemas.microsoft.com/office/drawing/2014/main" id="{59855E81-FC85-194C-A10F-E15F449E03B1}"/>
              </a:ext>
            </a:extLst>
          </p:cNvPr>
          <p:cNvSpPr txBox="1">
            <a:spLocks noGrp="1"/>
          </p:cNvSpPr>
          <p:nvPr>
            <p:ph type="body" idx="63"/>
          </p:nvPr>
        </p:nvSpPr>
        <p:spPr>
          <a:xfrm>
            <a:off x="3663390" y="1347207"/>
            <a:ext cx="3833824" cy="2873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marL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40" name="Google Shape;529;p5">
            <a:extLst>
              <a:ext uri="{FF2B5EF4-FFF2-40B4-BE49-F238E27FC236}">
                <a16:creationId xmlns:a16="http://schemas.microsoft.com/office/drawing/2014/main" id="{D9707A8B-FA68-3946-80EA-6430F37C31C8}"/>
              </a:ext>
            </a:extLst>
          </p:cNvPr>
          <p:cNvSpPr txBox="1">
            <a:spLocks noGrp="1"/>
          </p:cNvSpPr>
          <p:nvPr>
            <p:ph type="body" idx="64"/>
          </p:nvPr>
        </p:nvSpPr>
        <p:spPr>
          <a:xfrm>
            <a:off x="3663390" y="4514630"/>
            <a:ext cx="3833824" cy="2873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marL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50" name="Tijdelijke aanduiding voor tekst 3">
            <a:extLst>
              <a:ext uri="{FF2B5EF4-FFF2-40B4-BE49-F238E27FC236}">
                <a16:creationId xmlns:a16="http://schemas.microsoft.com/office/drawing/2014/main" id="{AF207E04-B2CE-3C4B-B504-9089AD592F04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3363224" y="4573266"/>
            <a:ext cx="223467" cy="223467"/>
          </a:xfrm>
          <a:prstGeom prst="ellipse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200"/>
            </a:lvl5pPr>
          </a:lstStyle>
          <a:p>
            <a:pPr lvl="0"/>
            <a:r>
              <a:rPr lang="nl-NL" dirty="0"/>
              <a:t> </a:t>
            </a:r>
          </a:p>
        </p:txBody>
      </p:sp>
      <p:pic>
        <p:nvPicPr>
          <p:cNvPr id="24" name="Afbeelding 25">
            <a:extLst>
              <a:ext uri="{FF2B5EF4-FFF2-40B4-BE49-F238E27FC236}">
                <a16:creationId xmlns:a16="http://schemas.microsoft.com/office/drawing/2014/main" id="{F8DDF0AD-8765-E14B-A748-520155B81B3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3335" y="4743578"/>
            <a:ext cx="634736" cy="24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011713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Übersicht mit Numm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Google Shape;529;p5">
            <a:extLst>
              <a:ext uri="{FF2B5EF4-FFF2-40B4-BE49-F238E27FC236}">
                <a16:creationId xmlns:a16="http://schemas.microsoft.com/office/drawing/2014/main" id="{78828824-1475-FC48-8BE5-2A71F4EA041B}"/>
              </a:ext>
            </a:extLst>
          </p:cNvPr>
          <p:cNvSpPr txBox="1">
            <a:spLocks noGrp="1"/>
          </p:cNvSpPr>
          <p:nvPr>
            <p:ph type="body" idx="4"/>
          </p:nvPr>
        </p:nvSpPr>
        <p:spPr>
          <a:xfrm>
            <a:off x="434497" y="1587949"/>
            <a:ext cx="2565782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>
              <a:defRPr sz="1600" b="1">
                <a:solidFill>
                  <a:schemeClr val="tx2"/>
                </a:solidFill>
              </a:defRPr>
            </a:lvl1pPr>
          </a:lstStyle>
          <a:p>
            <a:pPr marL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25" name="Google Shape;529;p5">
            <a:extLst>
              <a:ext uri="{FF2B5EF4-FFF2-40B4-BE49-F238E27FC236}">
                <a16:creationId xmlns:a16="http://schemas.microsoft.com/office/drawing/2014/main" id="{85099D95-9FE9-E545-A59D-7DB28BC30D99}"/>
              </a:ext>
            </a:extLst>
          </p:cNvPr>
          <p:cNvSpPr txBox="1">
            <a:spLocks noGrp="1"/>
          </p:cNvSpPr>
          <p:nvPr>
            <p:ph type="body" idx="14" hasCustomPrompt="1"/>
          </p:nvPr>
        </p:nvSpPr>
        <p:spPr>
          <a:xfrm>
            <a:off x="3256724" y="1587949"/>
            <a:ext cx="2565782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>
              <a:defRPr sz="1600" b="1">
                <a:solidFill>
                  <a:schemeClr val="tx2"/>
                </a:solidFill>
              </a:defRPr>
            </a:lvl1pPr>
          </a:lstStyle>
          <a:p>
            <a:pPr marL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</a:pPr>
            <a:r>
              <a:rPr lang="x-none" dirty="0"/>
              <a:t>02</a:t>
            </a:r>
            <a:endParaRPr dirty="0"/>
          </a:p>
        </p:txBody>
      </p:sp>
      <p:sp>
        <p:nvSpPr>
          <p:cNvPr id="27" name="Google Shape;529;p5">
            <a:extLst>
              <a:ext uri="{FF2B5EF4-FFF2-40B4-BE49-F238E27FC236}">
                <a16:creationId xmlns:a16="http://schemas.microsoft.com/office/drawing/2014/main" id="{78840DCD-8395-4A4A-B298-73452CECBB42}"/>
              </a:ext>
            </a:extLst>
          </p:cNvPr>
          <p:cNvSpPr txBox="1">
            <a:spLocks noGrp="1"/>
          </p:cNvSpPr>
          <p:nvPr>
            <p:ph type="body" idx="16" hasCustomPrompt="1"/>
          </p:nvPr>
        </p:nvSpPr>
        <p:spPr>
          <a:xfrm>
            <a:off x="6037264" y="1587949"/>
            <a:ext cx="2565782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>
              <a:defRPr sz="1600" b="1">
                <a:solidFill>
                  <a:schemeClr val="tx2"/>
                </a:solidFill>
              </a:defRPr>
            </a:lvl1pPr>
          </a:lstStyle>
          <a:p>
            <a:pPr marL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</a:pPr>
            <a:r>
              <a:rPr lang="x-none" dirty="0"/>
              <a:t>03</a:t>
            </a:r>
            <a:endParaRPr dirty="0"/>
          </a:p>
        </p:txBody>
      </p:sp>
      <p:sp>
        <p:nvSpPr>
          <p:cNvPr id="29" name="Google Shape;529;p5">
            <a:extLst>
              <a:ext uri="{FF2B5EF4-FFF2-40B4-BE49-F238E27FC236}">
                <a16:creationId xmlns:a16="http://schemas.microsoft.com/office/drawing/2014/main" id="{127EFF24-7D04-354A-9A48-250067157FD4}"/>
              </a:ext>
            </a:extLst>
          </p:cNvPr>
          <p:cNvSpPr txBox="1">
            <a:spLocks noGrp="1"/>
          </p:cNvSpPr>
          <p:nvPr>
            <p:ph type="body" idx="18" hasCustomPrompt="1"/>
          </p:nvPr>
        </p:nvSpPr>
        <p:spPr>
          <a:xfrm>
            <a:off x="434497" y="2902399"/>
            <a:ext cx="2565782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>
              <a:defRPr sz="1600" b="1">
                <a:solidFill>
                  <a:schemeClr val="tx2"/>
                </a:solidFill>
              </a:defRPr>
            </a:lvl1pPr>
          </a:lstStyle>
          <a:p>
            <a:pPr marL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</a:pPr>
            <a:r>
              <a:rPr lang="x-none" dirty="0"/>
              <a:t>04</a:t>
            </a:r>
            <a:endParaRPr dirty="0"/>
          </a:p>
        </p:txBody>
      </p:sp>
      <p:sp>
        <p:nvSpPr>
          <p:cNvPr id="31" name="Google Shape;529;p5">
            <a:extLst>
              <a:ext uri="{FF2B5EF4-FFF2-40B4-BE49-F238E27FC236}">
                <a16:creationId xmlns:a16="http://schemas.microsoft.com/office/drawing/2014/main" id="{DBD1C477-A465-5742-B47E-A949A315E4A3}"/>
              </a:ext>
            </a:extLst>
          </p:cNvPr>
          <p:cNvSpPr txBox="1">
            <a:spLocks noGrp="1"/>
          </p:cNvSpPr>
          <p:nvPr>
            <p:ph type="body" idx="20" hasCustomPrompt="1"/>
          </p:nvPr>
        </p:nvSpPr>
        <p:spPr>
          <a:xfrm>
            <a:off x="3256724" y="2902399"/>
            <a:ext cx="2565782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>
              <a:defRPr sz="1600" b="1">
                <a:solidFill>
                  <a:schemeClr val="tx2"/>
                </a:solidFill>
              </a:defRPr>
            </a:lvl1pPr>
          </a:lstStyle>
          <a:p>
            <a:pPr marL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</a:pPr>
            <a:r>
              <a:rPr lang="x-none" dirty="0"/>
              <a:t>05</a:t>
            </a:r>
            <a:endParaRPr dirty="0"/>
          </a:p>
        </p:txBody>
      </p:sp>
      <p:sp>
        <p:nvSpPr>
          <p:cNvPr id="33" name="Google Shape;529;p5">
            <a:extLst>
              <a:ext uri="{FF2B5EF4-FFF2-40B4-BE49-F238E27FC236}">
                <a16:creationId xmlns:a16="http://schemas.microsoft.com/office/drawing/2014/main" id="{3F257379-1B14-1D4A-A39E-7368C11C294D}"/>
              </a:ext>
            </a:extLst>
          </p:cNvPr>
          <p:cNvSpPr txBox="1">
            <a:spLocks noGrp="1"/>
          </p:cNvSpPr>
          <p:nvPr>
            <p:ph type="body" idx="22" hasCustomPrompt="1"/>
          </p:nvPr>
        </p:nvSpPr>
        <p:spPr>
          <a:xfrm>
            <a:off x="6037264" y="2902399"/>
            <a:ext cx="2565782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>
              <a:defRPr sz="1600" b="1">
                <a:solidFill>
                  <a:schemeClr val="tx2"/>
                </a:solidFill>
              </a:defRPr>
            </a:lvl1pPr>
          </a:lstStyle>
          <a:p>
            <a:pPr marL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</a:pPr>
            <a:r>
              <a:rPr lang="x-none" dirty="0"/>
              <a:t>06</a:t>
            </a:r>
            <a:endParaRPr dirty="0"/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quarter" idx="38" hasCustomPrompt="1"/>
          </p:nvPr>
        </p:nvSpPr>
        <p:spPr>
          <a:xfrm>
            <a:off x="434497" y="1997405"/>
            <a:ext cx="2555684" cy="626400"/>
          </a:xfrm>
        </p:spPr>
        <p:txBody>
          <a:bodyPr lIns="90000"/>
          <a:lstStyle>
            <a:lvl1pPr>
              <a:defRPr sz="800"/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.</a:t>
            </a:r>
          </a:p>
        </p:txBody>
      </p:sp>
      <p:sp>
        <p:nvSpPr>
          <p:cNvPr id="34" name="Tijdelijke aanduiding voor tekst 4"/>
          <p:cNvSpPr>
            <a:spLocks noGrp="1"/>
          </p:cNvSpPr>
          <p:nvPr>
            <p:ph type="body" sz="quarter" idx="39" hasCustomPrompt="1"/>
          </p:nvPr>
        </p:nvSpPr>
        <p:spPr>
          <a:xfrm>
            <a:off x="6037264" y="1997405"/>
            <a:ext cx="2555684" cy="626400"/>
          </a:xfrm>
        </p:spPr>
        <p:txBody>
          <a:bodyPr lIns="90000"/>
          <a:lstStyle>
            <a:lvl1pPr>
              <a:defRPr sz="800"/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.</a:t>
            </a:r>
          </a:p>
        </p:txBody>
      </p:sp>
      <p:sp>
        <p:nvSpPr>
          <p:cNvPr id="35" name="Tijdelijke aanduiding voor tekst 4"/>
          <p:cNvSpPr>
            <a:spLocks noGrp="1"/>
          </p:cNvSpPr>
          <p:nvPr>
            <p:ph type="body" sz="quarter" idx="40" hasCustomPrompt="1"/>
          </p:nvPr>
        </p:nvSpPr>
        <p:spPr>
          <a:xfrm>
            <a:off x="3256724" y="1997405"/>
            <a:ext cx="2555684" cy="626400"/>
          </a:xfrm>
        </p:spPr>
        <p:txBody>
          <a:bodyPr lIns="90000"/>
          <a:lstStyle>
            <a:lvl1pPr>
              <a:defRPr sz="800"/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.</a:t>
            </a:r>
          </a:p>
        </p:txBody>
      </p:sp>
      <p:sp>
        <p:nvSpPr>
          <p:cNvPr id="36" name="Tijdelijke aanduiding voor tekst 4"/>
          <p:cNvSpPr>
            <a:spLocks noGrp="1"/>
          </p:cNvSpPr>
          <p:nvPr>
            <p:ph type="body" sz="quarter" idx="41" hasCustomPrompt="1"/>
          </p:nvPr>
        </p:nvSpPr>
        <p:spPr>
          <a:xfrm>
            <a:off x="434497" y="3316284"/>
            <a:ext cx="2555684" cy="626400"/>
          </a:xfrm>
        </p:spPr>
        <p:txBody>
          <a:bodyPr lIns="90000"/>
          <a:lstStyle>
            <a:lvl1pPr>
              <a:defRPr sz="800"/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.</a:t>
            </a:r>
          </a:p>
        </p:txBody>
      </p:sp>
      <p:sp>
        <p:nvSpPr>
          <p:cNvPr id="37" name="Tijdelijke aanduiding voor tekst 4"/>
          <p:cNvSpPr>
            <a:spLocks noGrp="1"/>
          </p:cNvSpPr>
          <p:nvPr>
            <p:ph type="body" sz="quarter" idx="42" hasCustomPrompt="1"/>
          </p:nvPr>
        </p:nvSpPr>
        <p:spPr>
          <a:xfrm>
            <a:off x="6037264" y="3316284"/>
            <a:ext cx="2555684" cy="626400"/>
          </a:xfrm>
        </p:spPr>
        <p:txBody>
          <a:bodyPr lIns="90000"/>
          <a:lstStyle>
            <a:lvl1pPr>
              <a:defRPr sz="800"/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.</a:t>
            </a:r>
          </a:p>
        </p:txBody>
      </p:sp>
      <p:sp>
        <p:nvSpPr>
          <p:cNvPr id="38" name="Tijdelijke aanduiding voor tekst 4"/>
          <p:cNvSpPr>
            <a:spLocks noGrp="1"/>
          </p:cNvSpPr>
          <p:nvPr>
            <p:ph type="body" sz="quarter" idx="43" hasCustomPrompt="1"/>
          </p:nvPr>
        </p:nvSpPr>
        <p:spPr>
          <a:xfrm>
            <a:off x="3256724" y="3316284"/>
            <a:ext cx="2555684" cy="626400"/>
          </a:xfrm>
        </p:spPr>
        <p:txBody>
          <a:bodyPr lIns="90000"/>
          <a:lstStyle>
            <a:lvl1pPr>
              <a:defRPr sz="800"/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800"/>
            </a:lvl1pPr>
          </a:lstStyle>
          <a:p>
            <a:r>
              <a:rPr lang="en-US"/>
              <a:t>Click to edit Master title style</a:t>
            </a:r>
            <a:endParaRPr lang="nl-NL" dirty="0"/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A826E10C-9F3B-EB43-9D06-8E62210F9A8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70410" y="815163"/>
            <a:ext cx="8120538" cy="320400"/>
          </a:xfrm>
        </p:spPr>
        <p:txBody>
          <a:bodyPr lIns="46800" anchor="t"/>
          <a:lstStyle>
            <a:lvl1pPr algn="l">
              <a:defRPr sz="1000">
                <a:solidFill>
                  <a:schemeClr val="tx2"/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6786176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Übersicht mit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Google Shape;529;p5">
            <a:extLst>
              <a:ext uri="{FF2B5EF4-FFF2-40B4-BE49-F238E27FC236}">
                <a16:creationId xmlns:a16="http://schemas.microsoft.com/office/drawing/2014/main" id="{78828824-1475-FC48-8BE5-2A71F4EA041B}"/>
              </a:ext>
            </a:extLst>
          </p:cNvPr>
          <p:cNvSpPr txBox="1">
            <a:spLocks noGrp="1"/>
          </p:cNvSpPr>
          <p:nvPr>
            <p:ph type="body" idx="4"/>
          </p:nvPr>
        </p:nvSpPr>
        <p:spPr>
          <a:xfrm>
            <a:off x="876298" y="1720074"/>
            <a:ext cx="2232000" cy="3017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36000" rIns="91425" bIns="45700" anchor="t" anchorCtr="0">
            <a:noAutofit/>
          </a:bodyPr>
          <a:lstStyle>
            <a:lvl1pPr mar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marL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19" name="Google Shape;529;p5">
            <a:extLst>
              <a:ext uri="{FF2B5EF4-FFF2-40B4-BE49-F238E27FC236}">
                <a16:creationId xmlns:a16="http://schemas.microsoft.com/office/drawing/2014/main" id="{DD194EAF-9309-9549-9C6E-7D274D85B8AA}"/>
              </a:ext>
            </a:extLst>
          </p:cNvPr>
          <p:cNvSpPr txBox="1">
            <a:spLocks noGrp="1"/>
          </p:cNvSpPr>
          <p:nvPr>
            <p:ph type="body" idx="24"/>
          </p:nvPr>
        </p:nvSpPr>
        <p:spPr>
          <a:xfrm>
            <a:off x="3638548" y="1720074"/>
            <a:ext cx="2232000" cy="3017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36000" rIns="91425" bIns="45700" anchor="t" anchorCtr="0">
            <a:noAutofit/>
          </a:bodyPr>
          <a:lstStyle>
            <a:lvl1pPr mar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marL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20" name="Google Shape;529;p5">
            <a:extLst>
              <a:ext uri="{FF2B5EF4-FFF2-40B4-BE49-F238E27FC236}">
                <a16:creationId xmlns:a16="http://schemas.microsoft.com/office/drawing/2014/main" id="{436D0639-A2F9-5040-9C98-0AAF70943C29}"/>
              </a:ext>
            </a:extLst>
          </p:cNvPr>
          <p:cNvSpPr txBox="1">
            <a:spLocks noGrp="1"/>
          </p:cNvSpPr>
          <p:nvPr>
            <p:ph type="body" idx="25"/>
          </p:nvPr>
        </p:nvSpPr>
        <p:spPr>
          <a:xfrm>
            <a:off x="6436928" y="1720074"/>
            <a:ext cx="2211772" cy="3017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36000" rIns="91425" bIns="45700" anchor="t" anchorCtr="0">
            <a:noAutofit/>
          </a:bodyPr>
          <a:lstStyle>
            <a:lvl1pPr mar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marL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41" name="Google Shape;529;p5">
            <a:extLst>
              <a:ext uri="{FF2B5EF4-FFF2-40B4-BE49-F238E27FC236}">
                <a16:creationId xmlns:a16="http://schemas.microsoft.com/office/drawing/2014/main" id="{595C3C11-9D01-8E4A-8C91-94D86F012722}"/>
              </a:ext>
            </a:extLst>
          </p:cNvPr>
          <p:cNvSpPr txBox="1">
            <a:spLocks noGrp="1"/>
          </p:cNvSpPr>
          <p:nvPr>
            <p:ph type="body" idx="27"/>
          </p:nvPr>
        </p:nvSpPr>
        <p:spPr>
          <a:xfrm>
            <a:off x="876298" y="2958939"/>
            <a:ext cx="2232000" cy="3017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36000" rIns="91425" bIns="45700" anchor="t" anchorCtr="0">
            <a:noAutofit/>
          </a:bodyPr>
          <a:lstStyle>
            <a:lvl1pPr mar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marL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44" name="Google Shape;529;p5">
            <a:extLst>
              <a:ext uri="{FF2B5EF4-FFF2-40B4-BE49-F238E27FC236}">
                <a16:creationId xmlns:a16="http://schemas.microsoft.com/office/drawing/2014/main" id="{341CF658-CE02-2A41-AF21-B4C03771F5B8}"/>
              </a:ext>
            </a:extLst>
          </p:cNvPr>
          <p:cNvSpPr txBox="1">
            <a:spLocks noGrp="1"/>
          </p:cNvSpPr>
          <p:nvPr>
            <p:ph type="body" idx="30"/>
          </p:nvPr>
        </p:nvSpPr>
        <p:spPr>
          <a:xfrm>
            <a:off x="3638548" y="2958939"/>
            <a:ext cx="2232000" cy="3017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36000" rIns="91425" bIns="45700" anchor="t" anchorCtr="0">
            <a:noAutofit/>
          </a:bodyPr>
          <a:lstStyle>
            <a:lvl1pPr mar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marL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29" name="Tijdelijke aanduiding voor tekst 4"/>
          <p:cNvSpPr>
            <a:spLocks noGrp="1"/>
          </p:cNvSpPr>
          <p:nvPr>
            <p:ph type="body" sz="quarter" idx="38" hasCustomPrompt="1"/>
          </p:nvPr>
        </p:nvSpPr>
        <p:spPr>
          <a:xfrm>
            <a:off x="534987" y="2167223"/>
            <a:ext cx="2562999" cy="573676"/>
          </a:xfrm>
        </p:spPr>
        <p:txBody>
          <a:bodyPr lIns="90000"/>
          <a:lstStyle>
            <a:lvl1pPr>
              <a:defRPr sz="800"/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.</a:t>
            </a:r>
          </a:p>
        </p:txBody>
      </p:sp>
      <p:sp>
        <p:nvSpPr>
          <p:cNvPr id="30" name="Tijdelijke aanduiding voor tekst 4"/>
          <p:cNvSpPr>
            <a:spLocks noGrp="1"/>
          </p:cNvSpPr>
          <p:nvPr>
            <p:ph type="body" sz="quarter" idx="39" hasCustomPrompt="1"/>
          </p:nvPr>
        </p:nvSpPr>
        <p:spPr>
          <a:xfrm>
            <a:off x="3309578" y="2167223"/>
            <a:ext cx="2562999" cy="573676"/>
          </a:xfrm>
        </p:spPr>
        <p:txBody>
          <a:bodyPr lIns="90000"/>
          <a:lstStyle>
            <a:lvl1pPr>
              <a:defRPr sz="800"/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.</a:t>
            </a:r>
          </a:p>
        </p:txBody>
      </p:sp>
      <p:sp>
        <p:nvSpPr>
          <p:cNvPr id="31" name="Tijdelijke aanduiding voor tekst 4"/>
          <p:cNvSpPr>
            <a:spLocks noGrp="1"/>
          </p:cNvSpPr>
          <p:nvPr>
            <p:ph type="body" sz="quarter" idx="40" hasCustomPrompt="1"/>
          </p:nvPr>
        </p:nvSpPr>
        <p:spPr>
          <a:xfrm>
            <a:off x="6084168" y="2167223"/>
            <a:ext cx="2562999" cy="573676"/>
          </a:xfrm>
        </p:spPr>
        <p:txBody>
          <a:bodyPr lIns="90000"/>
          <a:lstStyle>
            <a:lvl1pPr>
              <a:defRPr sz="800"/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.</a:t>
            </a:r>
          </a:p>
        </p:txBody>
      </p:sp>
      <p:sp>
        <p:nvSpPr>
          <p:cNvPr id="32" name="Tijdelijke aanduiding voor tekst 3"/>
          <p:cNvSpPr>
            <a:spLocks noGrp="1"/>
          </p:cNvSpPr>
          <p:nvPr>
            <p:ph type="body" sz="quarter" idx="42" hasCustomPrompt="1"/>
          </p:nvPr>
        </p:nvSpPr>
        <p:spPr>
          <a:xfrm>
            <a:off x="3310395" y="1761159"/>
            <a:ext cx="252000" cy="252000"/>
          </a:xfrm>
          <a:prstGeom prst="ellipse">
            <a:avLst/>
          </a:prstGeom>
          <a:solidFill>
            <a:schemeClr val="accent4"/>
          </a:solidFill>
        </p:spPr>
        <p:txBody>
          <a:bodyPr/>
          <a:lstStyle>
            <a:lvl1pPr>
              <a:defRPr sz="12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200"/>
            </a:lvl5pPr>
          </a:lstStyle>
          <a:p>
            <a:pPr lvl="0"/>
            <a:r>
              <a:rPr lang="nl-NL" dirty="0"/>
              <a:t> </a:t>
            </a:r>
          </a:p>
        </p:txBody>
      </p:sp>
      <p:sp>
        <p:nvSpPr>
          <p:cNvPr id="33" name="Tijdelijke aanduiding voor tekst 3"/>
          <p:cNvSpPr>
            <a:spLocks noGrp="1"/>
          </p:cNvSpPr>
          <p:nvPr>
            <p:ph type="body" sz="quarter" idx="43" hasCustomPrompt="1"/>
          </p:nvPr>
        </p:nvSpPr>
        <p:spPr>
          <a:xfrm>
            <a:off x="535894" y="1761159"/>
            <a:ext cx="252000" cy="252000"/>
          </a:xfrm>
          <a:prstGeom prst="ellipse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200"/>
            </a:lvl5pPr>
          </a:lstStyle>
          <a:p>
            <a:pPr lvl="0"/>
            <a:r>
              <a:rPr lang="nl-NL" dirty="0"/>
              <a:t> </a:t>
            </a:r>
          </a:p>
        </p:txBody>
      </p:sp>
      <p:sp>
        <p:nvSpPr>
          <p:cNvPr id="36" name="Tijdelijke aanduiding voor tekst 3"/>
          <p:cNvSpPr>
            <a:spLocks noGrp="1"/>
          </p:cNvSpPr>
          <p:nvPr>
            <p:ph type="body" sz="quarter" idx="44" hasCustomPrompt="1"/>
          </p:nvPr>
        </p:nvSpPr>
        <p:spPr>
          <a:xfrm>
            <a:off x="6075898" y="1761159"/>
            <a:ext cx="252000" cy="252000"/>
          </a:xfrm>
          <a:prstGeom prst="ellipse">
            <a:avLst/>
          </a:prstGeom>
          <a:solidFill>
            <a:schemeClr val="accent6"/>
          </a:solidFill>
        </p:spPr>
        <p:txBody>
          <a:bodyPr/>
          <a:lstStyle>
            <a:lvl1pPr>
              <a:defRPr sz="12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200"/>
            </a:lvl5pPr>
          </a:lstStyle>
          <a:p>
            <a:pPr lvl="0"/>
            <a:r>
              <a:rPr lang="nl-NL" dirty="0"/>
              <a:t> </a:t>
            </a:r>
          </a:p>
        </p:txBody>
      </p:sp>
      <p:sp>
        <p:nvSpPr>
          <p:cNvPr id="37" name="Tijdelijke aanduiding voor tekst 3"/>
          <p:cNvSpPr>
            <a:spLocks noGrp="1"/>
          </p:cNvSpPr>
          <p:nvPr>
            <p:ph type="body" sz="quarter" idx="45" hasCustomPrompt="1"/>
          </p:nvPr>
        </p:nvSpPr>
        <p:spPr>
          <a:xfrm>
            <a:off x="3310395" y="2989166"/>
            <a:ext cx="252000" cy="252000"/>
          </a:xfrm>
          <a:prstGeom prst="ellipse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200"/>
            </a:lvl5pPr>
          </a:lstStyle>
          <a:p>
            <a:pPr lvl="0"/>
            <a:r>
              <a:rPr lang="nl-NL" dirty="0"/>
              <a:t> </a:t>
            </a:r>
          </a:p>
        </p:txBody>
      </p:sp>
      <p:sp>
        <p:nvSpPr>
          <p:cNvPr id="38" name="Tijdelijke aanduiding voor tekst 3"/>
          <p:cNvSpPr>
            <a:spLocks noGrp="1"/>
          </p:cNvSpPr>
          <p:nvPr>
            <p:ph type="body" sz="quarter" idx="46" hasCustomPrompt="1"/>
          </p:nvPr>
        </p:nvSpPr>
        <p:spPr>
          <a:xfrm>
            <a:off x="535894" y="2989166"/>
            <a:ext cx="252000" cy="252000"/>
          </a:xfrm>
          <a:prstGeom prst="ellipse">
            <a:avLst/>
          </a:prstGeom>
          <a:solidFill>
            <a:schemeClr val="accent5"/>
          </a:solidFill>
        </p:spPr>
        <p:txBody>
          <a:bodyPr/>
          <a:lstStyle>
            <a:lvl1pPr>
              <a:defRPr sz="12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200"/>
            </a:lvl5pPr>
          </a:lstStyle>
          <a:p>
            <a:pPr lvl="0"/>
            <a:r>
              <a:rPr lang="nl-NL" dirty="0"/>
              <a:t> </a:t>
            </a:r>
          </a:p>
        </p:txBody>
      </p:sp>
      <p:sp>
        <p:nvSpPr>
          <p:cNvPr id="45" name="Tijdelijke aanduiding voor tekst 4"/>
          <p:cNvSpPr>
            <a:spLocks noGrp="1"/>
          </p:cNvSpPr>
          <p:nvPr>
            <p:ph type="body" sz="quarter" idx="47" hasCustomPrompt="1"/>
          </p:nvPr>
        </p:nvSpPr>
        <p:spPr>
          <a:xfrm>
            <a:off x="534987" y="3423724"/>
            <a:ext cx="2562999" cy="573676"/>
          </a:xfrm>
        </p:spPr>
        <p:txBody>
          <a:bodyPr lIns="90000"/>
          <a:lstStyle>
            <a:lvl1pPr>
              <a:defRPr sz="800"/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.</a:t>
            </a:r>
          </a:p>
        </p:txBody>
      </p:sp>
      <p:sp>
        <p:nvSpPr>
          <p:cNvPr id="46" name="Tijdelijke aanduiding voor tekst 4"/>
          <p:cNvSpPr>
            <a:spLocks noGrp="1"/>
          </p:cNvSpPr>
          <p:nvPr>
            <p:ph type="body" sz="quarter" idx="48" hasCustomPrompt="1"/>
          </p:nvPr>
        </p:nvSpPr>
        <p:spPr>
          <a:xfrm>
            <a:off x="3309578" y="3423724"/>
            <a:ext cx="2562999" cy="573676"/>
          </a:xfrm>
        </p:spPr>
        <p:txBody>
          <a:bodyPr lIns="90000"/>
          <a:lstStyle>
            <a:lvl1pPr>
              <a:defRPr sz="800"/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.</a:t>
            </a:r>
          </a:p>
        </p:txBody>
      </p:sp>
      <p:sp>
        <p:nvSpPr>
          <p:cNvPr id="34" name="Titel 1"/>
          <p:cNvSpPr>
            <a:spLocks noGrp="1"/>
          </p:cNvSpPr>
          <p:nvPr>
            <p:ph type="title"/>
          </p:nvPr>
        </p:nvSpPr>
        <p:spPr>
          <a:xfrm>
            <a:off x="470410" y="165671"/>
            <a:ext cx="8178290" cy="540000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/>
              <a:t>Click to edit Master title style</a:t>
            </a:r>
            <a:endParaRPr lang="nl-NL" dirty="0"/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A826E10C-9F3B-EB43-9D06-8E62210F9A8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70410" y="815163"/>
            <a:ext cx="8120538" cy="320400"/>
          </a:xfrm>
        </p:spPr>
        <p:txBody>
          <a:bodyPr lIns="46800" anchor="t"/>
          <a:lstStyle>
            <a:lvl1pPr algn="l">
              <a:defRPr sz="1000">
                <a:solidFill>
                  <a:schemeClr val="tx2"/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9" name="Google Shape;529;p5">
            <a:extLst>
              <a:ext uri="{FF2B5EF4-FFF2-40B4-BE49-F238E27FC236}">
                <a16:creationId xmlns:a16="http://schemas.microsoft.com/office/drawing/2014/main" id="{341CF658-CE02-2A41-AF21-B4C03771F5B8}"/>
              </a:ext>
            </a:extLst>
          </p:cNvPr>
          <p:cNvSpPr txBox="1">
            <a:spLocks noGrp="1"/>
          </p:cNvSpPr>
          <p:nvPr>
            <p:ph type="body" idx="50"/>
          </p:nvPr>
        </p:nvSpPr>
        <p:spPr>
          <a:xfrm>
            <a:off x="6436928" y="2958939"/>
            <a:ext cx="2232000" cy="3017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36000" rIns="91425" bIns="45700" anchor="t" anchorCtr="0">
            <a:noAutofit/>
          </a:bodyPr>
          <a:lstStyle>
            <a:lvl1pPr mar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marL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40" name="Tijdelijke aanduiding voor tekst 3"/>
          <p:cNvSpPr>
            <a:spLocks noGrp="1"/>
          </p:cNvSpPr>
          <p:nvPr>
            <p:ph type="body" sz="quarter" idx="51" hasCustomPrompt="1"/>
          </p:nvPr>
        </p:nvSpPr>
        <p:spPr>
          <a:xfrm>
            <a:off x="6075898" y="2989166"/>
            <a:ext cx="252000" cy="252000"/>
          </a:xfrm>
          <a:prstGeom prst="ellipse">
            <a:avLst/>
          </a:prstGeom>
          <a:solidFill>
            <a:schemeClr val="accent4"/>
          </a:solidFill>
        </p:spPr>
        <p:txBody>
          <a:bodyPr/>
          <a:lstStyle>
            <a:lvl1pPr>
              <a:defRPr sz="12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200"/>
            </a:lvl5pPr>
          </a:lstStyle>
          <a:p>
            <a:pPr lvl="0"/>
            <a:r>
              <a:rPr lang="nl-NL" dirty="0"/>
              <a:t> </a:t>
            </a:r>
          </a:p>
        </p:txBody>
      </p:sp>
      <p:sp>
        <p:nvSpPr>
          <p:cNvPr id="42" name="Tijdelijke aanduiding voor tekst 4"/>
          <p:cNvSpPr>
            <a:spLocks noGrp="1"/>
          </p:cNvSpPr>
          <p:nvPr>
            <p:ph type="body" sz="quarter" idx="52" hasCustomPrompt="1"/>
          </p:nvPr>
        </p:nvSpPr>
        <p:spPr>
          <a:xfrm>
            <a:off x="6084168" y="3423724"/>
            <a:ext cx="2562999" cy="573676"/>
          </a:xfrm>
        </p:spPr>
        <p:txBody>
          <a:bodyPr lIns="90000"/>
          <a:lstStyle>
            <a:lvl1pPr>
              <a:defRPr sz="800"/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38625470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Textblöcke + 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B1E41DEE-83D7-D94C-8A9D-32CE051E6E5C}"/>
              </a:ext>
            </a:extLst>
          </p:cNvPr>
          <p:cNvSpPr/>
          <p:nvPr userDrawn="1"/>
        </p:nvSpPr>
        <p:spPr>
          <a:xfrm>
            <a:off x="5073446" y="0"/>
            <a:ext cx="4070554" cy="229649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solidFill>
                <a:srgbClr val="FFFFFF"/>
              </a:solidFill>
            </a:endParaRPr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4FF02364-9071-194C-958B-88EE11FA31B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600325" y="0"/>
            <a:ext cx="2584450" cy="2297013"/>
          </a:xfrm>
          <a:solidFill>
            <a:schemeClr val="tx1">
              <a:lumMod val="10000"/>
              <a:lumOff val="90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x-none" dirty="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1890243-2885-DF45-AFFD-36ADD02069BA}"/>
              </a:ext>
            </a:extLst>
          </p:cNvPr>
          <p:cNvSpPr/>
          <p:nvPr userDrawn="1"/>
        </p:nvSpPr>
        <p:spPr>
          <a:xfrm>
            <a:off x="-2528" y="0"/>
            <a:ext cx="2602853" cy="229649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solidFill>
                <a:srgbClr val="FFFFFF"/>
              </a:solidFill>
            </a:endParaRPr>
          </a:p>
        </p:txBody>
      </p:sp>
      <p:sp>
        <p:nvSpPr>
          <p:cNvPr id="23" name="Google Shape;526;p5">
            <a:extLst>
              <a:ext uri="{FF2B5EF4-FFF2-40B4-BE49-F238E27FC236}">
                <a16:creationId xmlns:a16="http://schemas.microsoft.com/office/drawing/2014/main" id="{660E98A9-1604-6448-B138-AB49A36FBB4C}"/>
              </a:ext>
            </a:extLst>
          </p:cNvPr>
          <p:cNvSpPr txBox="1">
            <a:spLocks noGrp="1"/>
          </p:cNvSpPr>
          <p:nvPr>
            <p:ph type="body" idx="35" hasCustomPrompt="1"/>
          </p:nvPr>
        </p:nvSpPr>
        <p:spPr>
          <a:xfrm>
            <a:off x="665039" y="847725"/>
            <a:ext cx="1724327" cy="13017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 panose="020B0604020202020204" pitchFamily="34" charset="0"/>
              <a:buNone/>
              <a:tabLst>
                <a:tab pos="1865313" algn="l"/>
              </a:tabLst>
              <a:defRPr sz="800">
                <a:solidFill>
                  <a:schemeClr val="tx1"/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 panose="020B0604020202020204" pitchFamily="34" charset="0"/>
              <a:buNone/>
              <a:tabLst>
                <a:tab pos="1865313" algn="l"/>
              </a:tabLst>
              <a:defRPr/>
            </a:pPr>
            <a:r>
              <a:rPr lang="x-none" dirty="0"/>
              <a:t>Lorem ipsum dolor sit amet, consectetur adipiscing elit, sed do eiusmod tempor.</a:t>
            </a:r>
            <a:r>
              <a:rPr lang="en-GB" dirty="0"/>
              <a:t> 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. </a:t>
            </a:r>
            <a:r>
              <a:rPr lang="x-none" dirty="0"/>
              <a:t>Lorem ipsum dolor.</a:t>
            </a:r>
            <a:endParaRPr dirty="0"/>
          </a:p>
        </p:txBody>
      </p:sp>
      <p:sp>
        <p:nvSpPr>
          <p:cNvPr id="24" name="Google Shape;529;p5">
            <a:extLst>
              <a:ext uri="{FF2B5EF4-FFF2-40B4-BE49-F238E27FC236}">
                <a16:creationId xmlns:a16="http://schemas.microsoft.com/office/drawing/2014/main" id="{642E18C3-8A1C-8740-99DB-4538427B73BD}"/>
              </a:ext>
            </a:extLst>
          </p:cNvPr>
          <p:cNvSpPr txBox="1">
            <a:spLocks noGrp="1"/>
          </p:cNvSpPr>
          <p:nvPr>
            <p:ph type="body" idx="36"/>
          </p:nvPr>
        </p:nvSpPr>
        <p:spPr>
          <a:xfrm>
            <a:off x="665039" y="368346"/>
            <a:ext cx="1724327" cy="4016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marL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25" name="Google Shape;526;p5">
            <a:extLst>
              <a:ext uri="{FF2B5EF4-FFF2-40B4-BE49-F238E27FC236}">
                <a16:creationId xmlns:a16="http://schemas.microsoft.com/office/drawing/2014/main" id="{3ADE0F66-DEFA-D14A-B0E0-1394C4A9BEBD}"/>
              </a:ext>
            </a:extLst>
          </p:cNvPr>
          <p:cNvSpPr txBox="1">
            <a:spLocks noGrp="1"/>
          </p:cNvSpPr>
          <p:nvPr>
            <p:ph type="body" idx="37" hasCustomPrompt="1"/>
          </p:nvPr>
        </p:nvSpPr>
        <p:spPr>
          <a:xfrm>
            <a:off x="5356225" y="847725"/>
            <a:ext cx="3097927" cy="13017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 panose="020B0604020202020204" pitchFamily="34" charset="0"/>
              <a:buNone/>
              <a:tabLst>
                <a:tab pos="1865313" algn="l"/>
              </a:tabLst>
              <a:defRPr sz="800">
                <a:solidFill>
                  <a:schemeClr val="tx1"/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 panose="020B0604020202020204" pitchFamily="34" charset="0"/>
              <a:buNone/>
              <a:tabLst>
                <a:tab pos="1865313" algn="l"/>
              </a:tabLst>
              <a:defRPr/>
            </a:pPr>
            <a:r>
              <a:rPr lang="x-none" dirty="0"/>
              <a:t>Lorem ipsum dolor sit amet, consectetur adipiscing elit, sed do eiusmod tempor.</a:t>
            </a:r>
            <a:r>
              <a:rPr lang="en-GB" dirty="0"/>
              <a:t> 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. </a:t>
            </a:r>
            <a:r>
              <a:rPr lang="x-none" dirty="0"/>
              <a:t>Lorem ipsum dolor.</a:t>
            </a:r>
            <a:r>
              <a:rPr lang="en-GB" dirty="0"/>
              <a:t> 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. 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. Lorem ipsum </a:t>
            </a:r>
            <a:r>
              <a:rPr lang="en-GB" dirty="0" err="1"/>
              <a:t>dolor</a:t>
            </a:r>
            <a:r>
              <a:rPr lang="en-GB" dirty="0"/>
              <a:t>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 panose="020B0604020202020204" pitchFamily="34" charset="0"/>
              <a:buNone/>
              <a:tabLst>
                <a:tab pos="1865313" algn="l"/>
              </a:tabLst>
              <a:defRPr/>
            </a:pPr>
            <a:endParaRPr dirty="0"/>
          </a:p>
        </p:txBody>
      </p:sp>
      <p:sp>
        <p:nvSpPr>
          <p:cNvPr id="26" name="Google Shape;529;p5">
            <a:extLst>
              <a:ext uri="{FF2B5EF4-FFF2-40B4-BE49-F238E27FC236}">
                <a16:creationId xmlns:a16="http://schemas.microsoft.com/office/drawing/2014/main" id="{22B12B59-096D-094B-A402-C413F5704E6B}"/>
              </a:ext>
            </a:extLst>
          </p:cNvPr>
          <p:cNvSpPr txBox="1">
            <a:spLocks noGrp="1"/>
          </p:cNvSpPr>
          <p:nvPr>
            <p:ph type="body" idx="38"/>
          </p:nvPr>
        </p:nvSpPr>
        <p:spPr>
          <a:xfrm>
            <a:off x="5356226" y="368346"/>
            <a:ext cx="3097926" cy="4016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marL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C7350F14-4061-CD4F-A4AC-B5A204EBA476}"/>
              </a:ext>
            </a:extLst>
          </p:cNvPr>
          <p:cNvSpPr/>
          <p:nvPr userDrawn="1"/>
        </p:nvSpPr>
        <p:spPr>
          <a:xfrm>
            <a:off x="6734203" y="2295524"/>
            <a:ext cx="2409798" cy="231848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solidFill>
                <a:srgbClr val="FFFFFF"/>
              </a:solidFill>
            </a:endParaRPr>
          </a:p>
        </p:txBody>
      </p:sp>
      <p:sp>
        <p:nvSpPr>
          <p:cNvPr id="28" name="Google Shape;526;p5">
            <a:extLst>
              <a:ext uri="{FF2B5EF4-FFF2-40B4-BE49-F238E27FC236}">
                <a16:creationId xmlns:a16="http://schemas.microsoft.com/office/drawing/2014/main" id="{0FA9CD8D-30E4-4E49-879D-BF65CAFE584B}"/>
              </a:ext>
            </a:extLst>
          </p:cNvPr>
          <p:cNvSpPr txBox="1">
            <a:spLocks noGrp="1"/>
          </p:cNvSpPr>
          <p:nvPr>
            <p:ph type="body" idx="39" hasCustomPrompt="1"/>
          </p:nvPr>
        </p:nvSpPr>
        <p:spPr>
          <a:xfrm>
            <a:off x="6848475" y="2915731"/>
            <a:ext cx="1603374" cy="133380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 panose="020B0604020202020204" pitchFamily="34" charset="0"/>
              <a:buNone/>
              <a:tabLst>
                <a:tab pos="1865313" algn="l"/>
              </a:tabLst>
              <a:defRPr sz="800">
                <a:solidFill>
                  <a:schemeClr val="tx1"/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 panose="020B0604020202020204" pitchFamily="34" charset="0"/>
              <a:buNone/>
              <a:tabLst>
                <a:tab pos="1865313" algn="l"/>
              </a:tabLst>
              <a:defRPr/>
            </a:pPr>
            <a:r>
              <a:rPr lang="x-none" dirty="0"/>
              <a:t>Lorem ipsum dolor sit amet, consectetur adipiscing elit, sed do eiusmod tempor.</a:t>
            </a:r>
            <a:r>
              <a:rPr lang="en-GB" dirty="0"/>
              <a:t> 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. </a:t>
            </a:r>
            <a:r>
              <a:rPr lang="x-none" dirty="0"/>
              <a:t>Lorem ipsum dolor.</a:t>
            </a:r>
            <a:endParaRPr dirty="0"/>
          </a:p>
        </p:txBody>
      </p:sp>
      <p:sp>
        <p:nvSpPr>
          <p:cNvPr id="29" name="Google Shape;529;p5">
            <a:extLst>
              <a:ext uri="{FF2B5EF4-FFF2-40B4-BE49-F238E27FC236}">
                <a16:creationId xmlns:a16="http://schemas.microsoft.com/office/drawing/2014/main" id="{23A0EFF3-0804-7D49-8932-D4AD7676D85F}"/>
              </a:ext>
            </a:extLst>
          </p:cNvPr>
          <p:cNvSpPr txBox="1">
            <a:spLocks noGrp="1"/>
          </p:cNvSpPr>
          <p:nvPr>
            <p:ph type="body" idx="40"/>
          </p:nvPr>
        </p:nvSpPr>
        <p:spPr>
          <a:xfrm>
            <a:off x="6848475" y="2511470"/>
            <a:ext cx="1603374" cy="4016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marL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04FA182-5B88-A047-BE1B-1B6B4467F726}"/>
              </a:ext>
            </a:extLst>
          </p:cNvPr>
          <p:cNvSpPr/>
          <p:nvPr userDrawn="1"/>
        </p:nvSpPr>
        <p:spPr>
          <a:xfrm>
            <a:off x="4669941" y="2295525"/>
            <a:ext cx="2064261" cy="231848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solidFill>
                <a:srgbClr val="FFFFFF"/>
              </a:solidFill>
            </a:endParaRPr>
          </a:p>
        </p:txBody>
      </p:sp>
      <p:sp>
        <p:nvSpPr>
          <p:cNvPr id="31" name="Google Shape;526;p5">
            <a:extLst>
              <a:ext uri="{FF2B5EF4-FFF2-40B4-BE49-F238E27FC236}">
                <a16:creationId xmlns:a16="http://schemas.microsoft.com/office/drawing/2014/main" id="{89060480-4FA2-D749-BEA5-D7B90E9F6CAD}"/>
              </a:ext>
            </a:extLst>
          </p:cNvPr>
          <p:cNvSpPr txBox="1">
            <a:spLocks noGrp="1"/>
          </p:cNvSpPr>
          <p:nvPr>
            <p:ph type="body" idx="41" hasCustomPrompt="1"/>
          </p:nvPr>
        </p:nvSpPr>
        <p:spPr>
          <a:xfrm>
            <a:off x="4867275" y="2915732"/>
            <a:ext cx="1705486" cy="133380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 panose="020B0604020202020204" pitchFamily="34" charset="0"/>
              <a:buNone/>
              <a:tabLst>
                <a:tab pos="1865313" algn="l"/>
              </a:tabLst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 panose="020B0604020202020204" pitchFamily="34" charset="0"/>
              <a:buNone/>
              <a:tabLst>
                <a:tab pos="1865313" algn="l"/>
              </a:tabLst>
              <a:defRPr/>
            </a:pPr>
            <a:r>
              <a:rPr lang="x-none" dirty="0"/>
              <a:t>Lorem ipsum dolor sit amet, consectetur adipiscing elit, sed do eiusmod tempor.</a:t>
            </a:r>
            <a:r>
              <a:rPr lang="en-GB" dirty="0"/>
              <a:t> 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. </a:t>
            </a:r>
            <a:r>
              <a:rPr lang="x-none" dirty="0"/>
              <a:t>Lorem ipsum dolor.</a:t>
            </a:r>
            <a:endParaRPr dirty="0"/>
          </a:p>
        </p:txBody>
      </p:sp>
      <p:sp>
        <p:nvSpPr>
          <p:cNvPr id="32" name="Google Shape;529;p5">
            <a:extLst>
              <a:ext uri="{FF2B5EF4-FFF2-40B4-BE49-F238E27FC236}">
                <a16:creationId xmlns:a16="http://schemas.microsoft.com/office/drawing/2014/main" id="{2D388488-7BF5-4649-A4AD-DD8EF756E9EA}"/>
              </a:ext>
            </a:extLst>
          </p:cNvPr>
          <p:cNvSpPr txBox="1">
            <a:spLocks noGrp="1"/>
          </p:cNvSpPr>
          <p:nvPr>
            <p:ph type="body" idx="42"/>
          </p:nvPr>
        </p:nvSpPr>
        <p:spPr>
          <a:xfrm>
            <a:off x="4867275" y="2511471"/>
            <a:ext cx="1705486" cy="4016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marL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4805233-5FE7-1F41-A64A-07471C8B2244}"/>
              </a:ext>
            </a:extLst>
          </p:cNvPr>
          <p:cNvSpPr/>
          <p:nvPr userDrawn="1"/>
        </p:nvSpPr>
        <p:spPr>
          <a:xfrm>
            <a:off x="2602707" y="2295524"/>
            <a:ext cx="2069520" cy="231848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solidFill>
                <a:srgbClr val="FFFFFF"/>
              </a:solidFill>
            </a:endParaRPr>
          </a:p>
        </p:txBody>
      </p:sp>
      <p:sp>
        <p:nvSpPr>
          <p:cNvPr id="34" name="Google Shape;526;p5">
            <a:extLst>
              <a:ext uri="{FF2B5EF4-FFF2-40B4-BE49-F238E27FC236}">
                <a16:creationId xmlns:a16="http://schemas.microsoft.com/office/drawing/2014/main" id="{035ACD17-C4D9-B547-BDCD-5F273544E873}"/>
              </a:ext>
            </a:extLst>
          </p:cNvPr>
          <p:cNvSpPr txBox="1">
            <a:spLocks noGrp="1"/>
          </p:cNvSpPr>
          <p:nvPr>
            <p:ph type="body" idx="43" hasCustomPrompt="1"/>
          </p:nvPr>
        </p:nvSpPr>
        <p:spPr>
          <a:xfrm>
            <a:off x="2797175" y="2915732"/>
            <a:ext cx="1711325" cy="133380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 panose="020B0604020202020204" pitchFamily="34" charset="0"/>
              <a:buNone/>
              <a:tabLst>
                <a:tab pos="1865313" algn="l"/>
              </a:tabLst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 panose="020B0604020202020204" pitchFamily="34" charset="0"/>
              <a:buNone/>
              <a:tabLst>
                <a:tab pos="1865313" algn="l"/>
              </a:tabLst>
              <a:defRPr/>
            </a:pPr>
            <a:r>
              <a:rPr lang="x-none" dirty="0"/>
              <a:t>Lorem ipsum dolor sit amet, consectetur adipiscing elit, sed do eiusmod tempor.</a:t>
            </a:r>
            <a:r>
              <a:rPr lang="en-GB" dirty="0"/>
              <a:t> 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. </a:t>
            </a:r>
            <a:r>
              <a:rPr lang="x-none" dirty="0"/>
              <a:t>Lorem ipsum dolor.</a:t>
            </a:r>
            <a:endParaRPr dirty="0"/>
          </a:p>
        </p:txBody>
      </p:sp>
      <p:sp>
        <p:nvSpPr>
          <p:cNvPr id="35" name="Google Shape;529;p5">
            <a:extLst>
              <a:ext uri="{FF2B5EF4-FFF2-40B4-BE49-F238E27FC236}">
                <a16:creationId xmlns:a16="http://schemas.microsoft.com/office/drawing/2014/main" id="{68E00520-3C0C-6C4C-B408-86C20E0FA69B}"/>
              </a:ext>
            </a:extLst>
          </p:cNvPr>
          <p:cNvSpPr txBox="1">
            <a:spLocks noGrp="1"/>
          </p:cNvSpPr>
          <p:nvPr>
            <p:ph type="body" idx="44"/>
          </p:nvPr>
        </p:nvSpPr>
        <p:spPr>
          <a:xfrm>
            <a:off x="2797175" y="2511471"/>
            <a:ext cx="1711325" cy="4016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marL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36" name="Picture Placeholder 6">
            <a:extLst>
              <a:ext uri="{FF2B5EF4-FFF2-40B4-BE49-F238E27FC236}">
                <a16:creationId xmlns:a16="http://schemas.microsoft.com/office/drawing/2014/main" id="{BDA1402D-8EB2-4D49-B575-D0F1727A77A6}"/>
              </a:ext>
            </a:extLst>
          </p:cNvPr>
          <p:cNvSpPr>
            <a:spLocks noGrp="1"/>
          </p:cNvSpPr>
          <p:nvPr>
            <p:ph type="pic" sz="quarter" idx="45"/>
          </p:nvPr>
        </p:nvSpPr>
        <p:spPr>
          <a:xfrm>
            <a:off x="0" y="2295522"/>
            <a:ext cx="2602853" cy="2318492"/>
          </a:xfrm>
          <a:solidFill>
            <a:schemeClr val="tx1">
              <a:lumMod val="10000"/>
              <a:lumOff val="90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x-none" dirty="0"/>
          </a:p>
        </p:txBody>
      </p:sp>
    </p:spTree>
    <p:extLst>
      <p:ext uri="{BB962C8B-B14F-4D97-AF65-F5344CB8AC3E}">
        <p14:creationId xmlns:p14="http://schemas.microsoft.com/office/powerpoint/2010/main" val="248285312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blöcke + 3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14217268-B393-E64C-8484-762335336309}"/>
              </a:ext>
            </a:extLst>
          </p:cNvPr>
          <p:cNvSpPr/>
          <p:nvPr userDrawn="1"/>
        </p:nvSpPr>
        <p:spPr>
          <a:xfrm>
            <a:off x="0" y="0"/>
            <a:ext cx="3802063" cy="22970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solidFill>
                <a:srgbClr val="FFFFFF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5E73D86-3A54-A54A-B113-A0A3F306955A}"/>
              </a:ext>
            </a:extLst>
          </p:cNvPr>
          <p:cNvSpPr/>
          <p:nvPr userDrawn="1"/>
        </p:nvSpPr>
        <p:spPr>
          <a:xfrm>
            <a:off x="5845174" y="0"/>
            <a:ext cx="3298825" cy="229701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solidFill>
                <a:srgbClr val="FFFFFF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146476C-FAD9-9948-987C-B7F424D53BED}"/>
              </a:ext>
            </a:extLst>
          </p:cNvPr>
          <p:cNvSpPr/>
          <p:nvPr userDrawn="1"/>
        </p:nvSpPr>
        <p:spPr>
          <a:xfrm>
            <a:off x="4476750" y="2293169"/>
            <a:ext cx="2781299" cy="231571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solidFill>
                <a:srgbClr val="FFFFFF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6FB328A-62A3-9542-BE76-AB758FF76AE6}"/>
              </a:ext>
            </a:extLst>
          </p:cNvPr>
          <p:cNvSpPr/>
          <p:nvPr userDrawn="1"/>
        </p:nvSpPr>
        <p:spPr>
          <a:xfrm>
            <a:off x="1918617" y="2293169"/>
            <a:ext cx="2558133" cy="231571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solidFill>
                <a:srgbClr val="FFFFFF"/>
              </a:solidFill>
            </a:endParaRP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D75ABE7-2360-8A49-BAC7-E1245419101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802062" y="0"/>
            <a:ext cx="2056541" cy="2297013"/>
          </a:xfrm>
          <a:solidFill>
            <a:schemeClr val="tx1">
              <a:lumMod val="10000"/>
              <a:lumOff val="90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x-none" dirty="0"/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FB37E47C-ED94-6C4A-810F-A271004703F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2293168"/>
            <a:ext cx="1918618" cy="2315713"/>
          </a:xfrm>
          <a:solidFill>
            <a:schemeClr val="tx1">
              <a:lumMod val="10000"/>
              <a:lumOff val="90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x-none" dirty="0"/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4B2DA031-F993-5D41-BC94-7FDA6E136E1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258050" y="2293168"/>
            <a:ext cx="1885950" cy="2315715"/>
          </a:xfrm>
          <a:solidFill>
            <a:schemeClr val="tx1">
              <a:lumMod val="10000"/>
              <a:lumOff val="90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x-none" dirty="0"/>
          </a:p>
        </p:txBody>
      </p:sp>
      <p:sp>
        <p:nvSpPr>
          <p:cNvPr id="10" name="Google Shape;526;p5">
            <a:extLst>
              <a:ext uri="{FF2B5EF4-FFF2-40B4-BE49-F238E27FC236}">
                <a16:creationId xmlns:a16="http://schemas.microsoft.com/office/drawing/2014/main" id="{0835F02A-1303-824F-895B-DB922F66B43D}"/>
              </a:ext>
            </a:extLst>
          </p:cNvPr>
          <p:cNvSpPr txBox="1">
            <a:spLocks noGrp="1"/>
          </p:cNvSpPr>
          <p:nvPr>
            <p:ph type="body" idx="30" hasCustomPrompt="1"/>
          </p:nvPr>
        </p:nvSpPr>
        <p:spPr>
          <a:xfrm>
            <a:off x="2164229" y="2956227"/>
            <a:ext cx="2056541" cy="12102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 panose="020B0604020202020204" pitchFamily="34" charset="0"/>
              <a:buNone/>
              <a:tabLst>
                <a:tab pos="1865313" algn="l"/>
              </a:tabLst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 panose="020B0604020202020204" pitchFamily="34" charset="0"/>
              <a:buNone/>
              <a:tabLst>
                <a:tab pos="1865313" algn="l"/>
              </a:tabLst>
              <a:defRPr/>
            </a:pPr>
            <a:r>
              <a:rPr lang="x-none" dirty="0"/>
              <a:t>Lorem ipsum dolor sit amet, consectetur adipiscing elit, sed do eiusmod tempor.</a:t>
            </a:r>
            <a:r>
              <a:rPr lang="en-GB" dirty="0"/>
              <a:t> 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.</a:t>
            </a: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None/>
            </a:pPr>
            <a:endParaRPr dirty="0"/>
          </a:p>
        </p:txBody>
      </p:sp>
      <p:sp>
        <p:nvSpPr>
          <p:cNvPr id="11" name="Google Shape;529;p5">
            <a:extLst>
              <a:ext uri="{FF2B5EF4-FFF2-40B4-BE49-F238E27FC236}">
                <a16:creationId xmlns:a16="http://schemas.microsoft.com/office/drawing/2014/main" id="{919E24A7-5006-E743-8691-04CF6A8D1BEE}"/>
              </a:ext>
            </a:extLst>
          </p:cNvPr>
          <p:cNvSpPr txBox="1">
            <a:spLocks noGrp="1"/>
          </p:cNvSpPr>
          <p:nvPr>
            <p:ph type="body" idx="24"/>
          </p:nvPr>
        </p:nvSpPr>
        <p:spPr>
          <a:xfrm>
            <a:off x="2164229" y="2456978"/>
            <a:ext cx="2056541" cy="4016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marL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12" name="Google Shape;526;p5">
            <a:extLst>
              <a:ext uri="{FF2B5EF4-FFF2-40B4-BE49-F238E27FC236}">
                <a16:creationId xmlns:a16="http://schemas.microsoft.com/office/drawing/2014/main" id="{8582A6D1-3CBF-F744-99B5-997514DD1A15}"/>
              </a:ext>
            </a:extLst>
          </p:cNvPr>
          <p:cNvSpPr txBox="1">
            <a:spLocks noGrp="1"/>
          </p:cNvSpPr>
          <p:nvPr>
            <p:ph type="body" idx="31" hasCustomPrompt="1"/>
          </p:nvPr>
        </p:nvSpPr>
        <p:spPr>
          <a:xfrm>
            <a:off x="4703034" y="2956227"/>
            <a:ext cx="2299036" cy="12102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 panose="020B0604020202020204" pitchFamily="34" charset="0"/>
              <a:buNone/>
              <a:tabLst>
                <a:tab pos="1865313" algn="l"/>
              </a:tabLst>
              <a:defRPr sz="800">
                <a:solidFill>
                  <a:schemeClr val="tx1"/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 panose="020B0604020202020204" pitchFamily="34" charset="0"/>
              <a:buNone/>
              <a:tabLst>
                <a:tab pos="1865313" algn="l"/>
              </a:tabLst>
              <a:defRPr/>
            </a:pPr>
            <a:r>
              <a:rPr lang="x-none" dirty="0"/>
              <a:t>Lorem ipsum dolor sit amet, consectetur adipiscing elit, sed do eiusmod tempor.</a:t>
            </a:r>
            <a:r>
              <a:rPr lang="en-GB" dirty="0"/>
              <a:t> 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. </a:t>
            </a:r>
            <a:r>
              <a:rPr lang="x-none" dirty="0"/>
              <a:t>Lorem ipsum dolor.</a:t>
            </a:r>
            <a:endParaRPr lang="en-GB" dirty="0"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None/>
            </a:pPr>
            <a:endParaRPr dirty="0"/>
          </a:p>
        </p:txBody>
      </p:sp>
      <p:sp>
        <p:nvSpPr>
          <p:cNvPr id="13" name="Google Shape;529;p5">
            <a:extLst>
              <a:ext uri="{FF2B5EF4-FFF2-40B4-BE49-F238E27FC236}">
                <a16:creationId xmlns:a16="http://schemas.microsoft.com/office/drawing/2014/main" id="{10362F6D-84FC-F240-A728-0A4CAB2AB376}"/>
              </a:ext>
            </a:extLst>
          </p:cNvPr>
          <p:cNvSpPr txBox="1">
            <a:spLocks noGrp="1"/>
          </p:cNvSpPr>
          <p:nvPr>
            <p:ph type="body" idx="32"/>
          </p:nvPr>
        </p:nvSpPr>
        <p:spPr>
          <a:xfrm>
            <a:off x="4703034" y="2456978"/>
            <a:ext cx="2327669" cy="4016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>
              <a:defRPr sz="1800" b="1">
                <a:solidFill>
                  <a:schemeClr val="tx1"/>
                </a:solidFill>
              </a:defRPr>
            </a:lvl1pPr>
          </a:lstStyle>
          <a:p>
            <a:pPr marL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14" name="Google Shape;526;p5">
            <a:extLst>
              <a:ext uri="{FF2B5EF4-FFF2-40B4-BE49-F238E27FC236}">
                <a16:creationId xmlns:a16="http://schemas.microsoft.com/office/drawing/2014/main" id="{1FBD223E-CB8F-0544-BCA3-063414B6B204}"/>
              </a:ext>
            </a:extLst>
          </p:cNvPr>
          <p:cNvSpPr txBox="1">
            <a:spLocks noGrp="1"/>
          </p:cNvSpPr>
          <p:nvPr>
            <p:ph type="body" idx="33" hasCustomPrompt="1"/>
          </p:nvPr>
        </p:nvSpPr>
        <p:spPr>
          <a:xfrm>
            <a:off x="678728" y="858712"/>
            <a:ext cx="2935140" cy="11887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 panose="020B0604020202020204" pitchFamily="34" charset="0"/>
              <a:buNone/>
              <a:tabLst>
                <a:tab pos="1865313" algn="l"/>
              </a:tabLst>
              <a:defRPr sz="800">
                <a:solidFill>
                  <a:schemeClr val="tx1"/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 panose="020B0604020202020204" pitchFamily="34" charset="0"/>
              <a:buNone/>
              <a:tabLst>
                <a:tab pos="1865313" algn="l"/>
              </a:tabLst>
              <a:defRPr/>
            </a:pPr>
            <a:r>
              <a:rPr lang="x-none" dirty="0"/>
              <a:t>Lorem ipsum dolor sit amet, consectetur adipiscing elit, sed do eiusmod tempor.</a:t>
            </a:r>
            <a:r>
              <a:rPr lang="en-GB" dirty="0"/>
              <a:t> 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. </a:t>
            </a:r>
            <a:r>
              <a:rPr lang="x-none" dirty="0"/>
              <a:t>Lorem ipsum dolor sit amet, consectetur adipiscing.</a:t>
            </a:r>
            <a:endParaRPr lang="en-GB" dirty="0"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None/>
            </a:pPr>
            <a:endParaRPr dirty="0"/>
          </a:p>
        </p:txBody>
      </p:sp>
      <p:sp>
        <p:nvSpPr>
          <p:cNvPr id="15" name="Google Shape;529;p5">
            <a:extLst>
              <a:ext uri="{FF2B5EF4-FFF2-40B4-BE49-F238E27FC236}">
                <a16:creationId xmlns:a16="http://schemas.microsoft.com/office/drawing/2014/main" id="{D20CA6D2-C9F7-8B4C-A632-61C849902E8B}"/>
              </a:ext>
            </a:extLst>
          </p:cNvPr>
          <p:cNvSpPr txBox="1">
            <a:spLocks noGrp="1"/>
          </p:cNvSpPr>
          <p:nvPr>
            <p:ph type="body" idx="34"/>
          </p:nvPr>
        </p:nvSpPr>
        <p:spPr>
          <a:xfrm>
            <a:off x="678728" y="369888"/>
            <a:ext cx="2935140" cy="4016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marL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16" name="Google Shape;526;p5">
            <a:extLst>
              <a:ext uri="{FF2B5EF4-FFF2-40B4-BE49-F238E27FC236}">
                <a16:creationId xmlns:a16="http://schemas.microsoft.com/office/drawing/2014/main" id="{9C046A20-1CE6-5C47-8C25-46F94FAB6D03}"/>
              </a:ext>
            </a:extLst>
          </p:cNvPr>
          <p:cNvSpPr txBox="1">
            <a:spLocks noGrp="1"/>
          </p:cNvSpPr>
          <p:nvPr>
            <p:ph type="body" idx="35" hasCustomPrompt="1"/>
          </p:nvPr>
        </p:nvSpPr>
        <p:spPr>
          <a:xfrm>
            <a:off x="5994881" y="858712"/>
            <a:ext cx="2493136" cy="11887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 panose="020B0604020202020204" pitchFamily="34" charset="0"/>
              <a:buNone/>
              <a:tabLst>
                <a:tab pos="1865313" algn="l"/>
              </a:tabLst>
              <a:defRPr sz="800">
                <a:solidFill>
                  <a:schemeClr val="tx1"/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 panose="020B0604020202020204" pitchFamily="34" charset="0"/>
              <a:buNone/>
              <a:tabLst>
                <a:tab pos="1865313" algn="l"/>
              </a:tabLst>
              <a:defRPr/>
            </a:pPr>
            <a:r>
              <a:rPr lang="x-none" dirty="0"/>
              <a:t>Lorem ipsum dolor sit amet, consectetur adipiscing elit, sed do eiusmod tempor.</a:t>
            </a:r>
            <a:r>
              <a:rPr lang="en-GB" dirty="0"/>
              <a:t> 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. </a:t>
            </a:r>
            <a:r>
              <a:rPr lang="x-none" dirty="0"/>
              <a:t>Lorem ipsum dolor sit amet</a:t>
            </a:r>
            <a:r>
              <a:rPr lang="nl-NL" dirty="0"/>
              <a:t>.</a:t>
            </a:r>
            <a:endParaRPr lang="en-GB" dirty="0"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None/>
            </a:pPr>
            <a:endParaRPr dirty="0"/>
          </a:p>
        </p:txBody>
      </p:sp>
      <p:sp>
        <p:nvSpPr>
          <p:cNvPr id="17" name="Google Shape;529;p5">
            <a:extLst>
              <a:ext uri="{FF2B5EF4-FFF2-40B4-BE49-F238E27FC236}">
                <a16:creationId xmlns:a16="http://schemas.microsoft.com/office/drawing/2014/main" id="{3CE5B583-29AB-7145-95B6-DE2751A1E70A}"/>
              </a:ext>
            </a:extLst>
          </p:cNvPr>
          <p:cNvSpPr txBox="1">
            <a:spLocks noGrp="1"/>
          </p:cNvSpPr>
          <p:nvPr>
            <p:ph type="body" idx="36"/>
          </p:nvPr>
        </p:nvSpPr>
        <p:spPr>
          <a:xfrm>
            <a:off x="5994881" y="369888"/>
            <a:ext cx="2493136" cy="4016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marL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</a:pPr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132142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extblöcke + 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1E29EFB6-EB0A-184F-9917-17D353EB20A7}"/>
              </a:ext>
            </a:extLst>
          </p:cNvPr>
          <p:cNvSpPr/>
          <p:nvPr userDrawn="1"/>
        </p:nvSpPr>
        <p:spPr>
          <a:xfrm>
            <a:off x="0" y="0"/>
            <a:ext cx="3802063" cy="229701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solidFill>
                <a:srgbClr val="FFFFFF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53FD59C-A0AF-AF4D-AF31-78046DB32DF9}"/>
              </a:ext>
            </a:extLst>
          </p:cNvPr>
          <p:cNvSpPr/>
          <p:nvPr userDrawn="1"/>
        </p:nvSpPr>
        <p:spPr>
          <a:xfrm>
            <a:off x="3802061" y="0"/>
            <a:ext cx="2801604" cy="229701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solidFill>
                <a:srgbClr val="FFFFFF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3BEBE78-9FA1-BF4C-8BDC-5981617B0682}"/>
              </a:ext>
            </a:extLst>
          </p:cNvPr>
          <p:cNvSpPr/>
          <p:nvPr userDrawn="1"/>
        </p:nvSpPr>
        <p:spPr>
          <a:xfrm>
            <a:off x="4584700" y="2297147"/>
            <a:ext cx="4559300" cy="23172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solidFill>
                <a:srgbClr val="FFFFFF"/>
              </a:solidFill>
            </a:endParaRPr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84506CA6-4DF8-BB4D-8F88-DFF93851A96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577872" y="0"/>
            <a:ext cx="2566128" cy="2297013"/>
          </a:xfrm>
          <a:solidFill>
            <a:schemeClr val="tx1">
              <a:lumMod val="10000"/>
              <a:lumOff val="90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x-none" dirty="0"/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96153EE2-2E99-2F4C-B76B-5D526A41D9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2297148"/>
            <a:ext cx="4674386" cy="2317382"/>
          </a:xfrm>
          <a:solidFill>
            <a:schemeClr val="tx1">
              <a:lumMod val="10000"/>
              <a:lumOff val="90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x-none" dirty="0"/>
          </a:p>
        </p:txBody>
      </p:sp>
      <p:sp>
        <p:nvSpPr>
          <p:cNvPr id="23" name="Google Shape;526;p5">
            <a:extLst>
              <a:ext uri="{FF2B5EF4-FFF2-40B4-BE49-F238E27FC236}">
                <a16:creationId xmlns:a16="http://schemas.microsoft.com/office/drawing/2014/main" id="{0959AE24-9A86-1148-B437-1E4A94344C48}"/>
              </a:ext>
            </a:extLst>
          </p:cNvPr>
          <p:cNvSpPr txBox="1">
            <a:spLocks noGrp="1"/>
          </p:cNvSpPr>
          <p:nvPr>
            <p:ph type="body" idx="31" hasCustomPrompt="1"/>
          </p:nvPr>
        </p:nvSpPr>
        <p:spPr>
          <a:xfrm>
            <a:off x="4836149" y="2872118"/>
            <a:ext cx="3612112" cy="13341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 panose="020B0604020202020204" pitchFamily="34" charset="0"/>
              <a:buNone/>
              <a:tabLst>
                <a:tab pos="1865313" algn="l"/>
              </a:tabLst>
              <a:defRPr sz="800">
                <a:solidFill>
                  <a:schemeClr val="tx1"/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 panose="020B0604020202020204" pitchFamily="34" charset="0"/>
              <a:buNone/>
              <a:tabLst>
                <a:tab pos="1865313" algn="l"/>
              </a:tabLst>
              <a:defRPr/>
            </a:pPr>
            <a:r>
              <a:rPr lang="x-none" dirty="0"/>
              <a:t>Lorem ipsum dolor sit amet, consectetur adipiscing elit, sed do eiusmod tempor.</a:t>
            </a:r>
            <a:r>
              <a:rPr lang="en-GB" dirty="0"/>
              <a:t> 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. </a:t>
            </a:r>
            <a:r>
              <a:rPr lang="x-none" dirty="0"/>
              <a:t>Lorem ipsum dolor. Elit, sed do eiusmod tempor.</a:t>
            </a:r>
            <a:r>
              <a:rPr lang="en-GB" dirty="0"/>
              <a:t> 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. </a:t>
            </a:r>
            <a:r>
              <a:rPr lang="x-none" dirty="0"/>
              <a:t>Lorem ipsum dolor.</a:t>
            </a:r>
            <a:endParaRPr lang="en-GB" dirty="0"/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 panose="020B0604020202020204" pitchFamily="34" charset="0"/>
              <a:buNone/>
              <a:tabLst>
                <a:tab pos="1865313" algn="l"/>
              </a:tabLst>
              <a:defRPr/>
            </a:pPr>
            <a:endParaRPr lang="en-GB" dirty="0"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None/>
            </a:pPr>
            <a:endParaRPr dirty="0"/>
          </a:p>
        </p:txBody>
      </p:sp>
      <p:sp>
        <p:nvSpPr>
          <p:cNvPr id="24" name="Google Shape;529;p5">
            <a:extLst>
              <a:ext uri="{FF2B5EF4-FFF2-40B4-BE49-F238E27FC236}">
                <a16:creationId xmlns:a16="http://schemas.microsoft.com/office/drawing/2014/main" id="{789CF8F5-5CCC-294B-A9C6-7E68413924A4}"/>
              </a:ext>
            </a:extLst>
          </p:cNvPr>
          <p:cNvSpPr txBox="1">
            <a:spLocks noGrp="1"/>
          </p:cNvSpPr>
          <p:nvPr>
            <p:ph type="body" idx="32"/>
          </p:nvPr>
        </p:nvSpPr>
        <p:spPr>
          <a:xfrm>
            <a:off x="4836149" y="2441693"/>
            <a:ext cx="3612112" cy="4016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marL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25" name="Google Shape;526;p5">
            <a:extLst>
              <a:ext uri="{FF2B5EF4-FFF2-40B4-BE49-F238E27FC236}">
                <a16:creationId xmlns:a16="http://schemas.microsoft.com/office/drawing/2014/main" id="{AF1591B0-3796-1642-8756-4ED4CEB69854}"/>
              </a:ext>
            </a:extLst>
          </p:cNvPr>
          <p:cNvSpPr txBox="1">
            <a:spLocks noGrp="1"/>
          </p:cNvSpPr>
          <p:nvPr>
            <p:ph type="body" idx="33" hasCustomPrompt="1"/>
          </p:nvPr>
        </p:nvSpPr>
        <p:spPr>
          <a:xfrm>
            <a:off x="674758" y="866055"/>
            <a:ext cx="2903327" cy="13165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 panose="020B0604020202020204" pitchFamily="34" charset="0"/>
              <a:buNone/>
              <a:tabLst>
                <a:tab pos="1865313" algn="l"/>
              </a:tabLst>
              <a:defRPr sz="800">
                <a:solidFill>
                  <a:schemeClr val="tx1"/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 panose="020B0604020202020204" pitchFamily="34" charset="0"/>
              <a:buNone/>
              <a:tabLst>
                <a:tab pos="1865313" algn="l"/>
              </a:tabLst>
              <a:defRPr/>
            </a:pPr>
            <a:r>
              <a:rPr lang="x-none" dirty="0"/>
              <a:t>Lorem ipsum dolor sit amet, consectetur adipiscing elit, sed do eiusmod tempor.</a:t>
            </a:r>
            <a:r>
              <a:rPr lang="en-GB" dirty="0"/>
              <a:t> 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. </a:t>
            </a:r>
            <a:r>
              <a:rPr lang="x-none" dirty="0"/>
              <a:t>Lorem ipsum dolor sit amet, consectetur adipiscing.</a:t>
            </a:r>
            <a:endParaRPr lang="en-GB" dirty="0"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None/>
            </a:pPr>
            <a:endParaRPr dirty="0"/>
          </a:p>
        </p:txBody>
      </p:sp>
      <p:sp>
        <p:nvSpPr>
          <p:cNvPr id="26" name="Google Shape;529;p5">
            <a:extLst>
              <a:ext uri="{FF2B5EF4-FFF2-40B4-BE49-F238E27FC236}">
                <a16:creationId xmlns:a16="http://schemas.microsoft.com/office/drawing/2014/main" id="{2BB43962-96FA-544F-BCEB-F58F343F8DB4}"/>
              </a:ext>
            </a:extLst>
          </p:cNvPr>
          <p:cNvSpPr txBox="1">
            <a:spLocks noGrp="1"/>
          </p:cNvSpPr>
          <p:nvPr>
            <p:ph type="body" idx="34"/>
          </p:nvPr>
        </p:nvSpPr>
        <p:spPr>
          <a:xfrm>
            <a:off x="674758" y="372014"/>
            <a:ext cx="2903327" cy="4016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marL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27" name="Google Shape;526;p5">
            <a:extLst>
              <a:ext uri="{FF2B5EF4-FFF2-40B4-BE49-F238E27FC236}">
                <a16:creationId xmlns:a16="http://schemas.microsoft.com/office/drawing/2014/main" id="{9F5F84BA-E9A4-8C46-A614-DC87604BFD9A}"/>
              </a:ext>
            </a:extLst>
          </p:cNvPr>
          <p:cNvSpPr txBox="1">
            <a:spLocks noGrp="1"/>
          </p:cNvSpPr>
          <p:nvPr>
            <p:ph type="body" idx="35" hasCustomPrompt="1"/>
          </p:nvPr>
        </p:nvSpPr>
        <p:spPr>
          <a:xfrm>
            <a:off x="3999478" y="866055"/>
            <a:ext cx="2357590" cy="13165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 panose="020B0604020202020204" pitchFamily="34" charset="0"/>
              <a:buNone/>
              <a:tabLst>
                <a:tab pos="1865313" algn="l"/>
              </a:tabLst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 panose="020B0604020202020204" pitchFamily="34" charset="0"/>
              <a:buNone/>
              <a:tabLst>
                <a:tab pos="1865313" algn="l"/>
              </a:tabLst>
              <a:defRPr/>
            </a:pPr>
            <a:r>
              <a:rPr lang="x-none" dirty="0"/>
              <a:t>Lorem ipsum dolor sit amet, consectetur adipiscing elit, sed do eiusmod tempor.</a:t>
            </a:r>
            <a:r>
              <a:rPr lang="en-GB" dirty="0"/>
              <a:t> 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. </a:t>
            </a:r>
            <a:r>
              <a:rPr lang="x-none" dirty="0"/>
              <a:t>Lorem ipsum dolor sit amet</a:t>
            </a:r>
            <a:r>
              <a:rPr lang="nl-NL" dirty="0"/>
              <a:t>.</a:t>
            </a:r>
            <a:endParaRPr lang="en-GB" dirty="0"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None/>
            </a:pPr>
            <a:endParaRPr dirty="0"/>
          </a:p>
        </p:txBody>
      </p:sp>
      <p:sp>
        <p:nvSpPr>
          <p:cNvPr id="28" name="Google Shape;529;p5">
            <a:extLst>
              <a:ext uri="{FF2B5EF4-FFF2-40B4-BE49-F238E27FC236}">
                <a16:creationId xmlns:a16="http://schemas.microsoft.com/office/drawing/2014/main" id="{02B9A193-24C9-9C42-89B3-5BF725C2FDED}"/>
              </a:ext>
            </a:extLst>
          </p:cNvPr>
          <p:cNvSpPr txBox="1">
            <a:spLocks noGrp="1"/>
          </p:cNvSpPr>
          <p:nvPr>
            <p:ph type="body" idx="36"/>
          </p:nvPr>
        </p:nvSpPr>
        <p:spPr>
          <a:xfrm>
            <a:off x="3999478" y="372014"/>
            <a:ext cx="2357590" cy="4016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marL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</a:pPr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563391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+ Text + 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96ED11D-9CA9-4A48-947F-12216679566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4572000" cy="5143500"/>
          </a:xfrm>
          <a:solidFill>
            <a:schemeClr val="tx1">
              <a:lumMod val="10000"/>
              <a:lumOff val="90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x-none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405B029C-BFED-654C-9DB4-F7633A280C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087345" y="1706114"/>
            <a:ext cx="3457575" cy="611943"/>
          </a:xfrm>
        </p:spPr>
        <p:txBody>
          <a:bodyPr anchor="b" anchorCtr="0">
            <a:normAutofit/>
          </a:bodyPr>
          <a:lstStyle>
            <a:lvl1pPr algn="l"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330C55FB-980B-B04D-BE94-81EA76B902C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087345" y="2322973"/>
            <a:ext cx="3457575" cy="643493"/>
          </a:xfrm>
        </p:spPr>
        <p:txBody>
          <a:bodyPr>
            <a:noAutofit/>
          </a:bodyPr>
          <a:lstStyle>
            <a:lvl1pPr marL="0" indent="0" algn="l"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9DB04FE6-39EF-5C42-BAB6-F88FC6F3013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356225" y="3262978"/>
            <a:ext cx="3267074" cy="698500"/>
          </a:xfrm>
        </p:spPr>
        <p:txBody>
          <a:bodyPr>
            <a:no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/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.</a:t>
            </a:r>
          </a:p>
          <a:p>
            <a:pPr lvl="0"/>
            <a:endParaRPr lang="x-none" dirty="0"/>
          </a:p>
        </p:txBody>
      </p:sp>
      <p:sp>
        <p:nvSpPr>
          <p:cNvPr id="9" name="Tijdelijke aanduiding voor tekst 3"/>
          <p:cNvSpPr>
            <a:spLocks noGrp="1"/>
          </p:cNvSpPr>
          <p:nvPr>
            <p:ph type="body" sz="quarter" idx="49" hasCustomPrompt="1"/>
          </p:nvPr>
        </p:nvSpPr>
        <p:spPr>
          <a:xfrm>
            <a:off x="5085954" y="3272149"/>
            <a:ext cx="194430" cy="194430"/>
          </a:xfrm>
          <a:prstGeom prst="ellipse">
            <a:avLst/>
          </a:prstGeom>
          <a:solidFill>
            <a:schemeClr val="accent1"/>
          </a:solidFill>
        </p:spPr>
        <p:txBody>
          <a:bodyPr/>
          <a:lstStyle>
            <a:lvl1pPr>
              <a:defRPr sz="12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200"/>
            </a:lvl5pPr>
          </a:lstStyle>
          <a:p>
            <a:pPr lvl="0"/>
            <a:r>
              <a:rPr lang="nl-NL" dirty="0"/>
              <a:t> </a:t>
            </a:r>
          </a:p>
        </p:txBody>
      </p:sp>
      <p:pic>
        <p:nvPicPr>
          <p:cNvPr id="10" name="Afbeelding 25">
            <a:extLst>
              <a:ext uri="{FF2B5EF4-FFF2-40B4-BE49-F238E27FC236}">
                <a16:creationId xmlns:a16="http://schemas.microsoft.com/office/drawing/2014/main" id="{48340EB1-3D0B-EA4A-BB7B-281A829079F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3335" y="4743578"/>
            <a:ext cx="634736" cy="24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05833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| Bild im Hintergrund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afbeelding 3"/>
          <p:cNvSpPr>
            <a:spLocks noGrp="1" noChangeAspect="1"/>
          </p:cNvSpPr>
          <p:nvPr>
            <p:ph type="pic" sz="quarter" idx="13"/>
          </p:nvPr>
        </p:nvSpPr>
        <p:spPr>
          <a:xfrm>
            <a:off x="0" y="0"/>
            <a:ext cx="9144000" cy="5143500"/>
          </a:xfrm>
          <a:solidFill>
            <a:schemeClr val="bg1">
              <a:lumMod val="85000"/>
            </a:schemeClr>
          </a:solidFill>
        </p:spPr>
        <p:txBody>
          <a:bodyPr lIns="144000" tIns="108000"/>
          <a:lstStyle/>
          <a:p>
            <a:r>
              <a:rPr lang="en-US"/>
              <a:t>Click icon to add picture</a:t>
            </a:r>
            <a:endParaRPr lang="nl-NL" dirty="0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03B2CD44-5C42-7A4B-BCDD-4D431CAF416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4989" y="2340686"/>
            <a:ext cx="8120538" cy="528794"/>
          </a:xfrm>
        </p:spPr>
        <p:txBody>
          <a:bodyPr wrap="square" anchor="b" anchorCtr="0">
            <a:normAutofit/>
          </a:bodyPr>
          <a:lstStyle>
            <a:lvl1pPr algn="ctr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414974383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+ Text +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96ED11D-9CA9-4A48-947F-12216679566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4572000" cy="5143500"/>
          </a:xfrm>
          <a:solidFill>
            <a:schemeClr val="tx1">
              <a:lumMod val="10000"/>
              <a:lumOff val="90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x-none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C1627E8E-5D45-804E-8837-8F0DD61690E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9456" y="1820041"/>
            <a:ext cx="3544663" cy="498016"/>
          </a:xfrm>
        </p:spPr>
        <p:txBody>
          <a:bodyPr anchor="b" anchorCtr="0">
            <a:normAutofit/>
          </a:bodyPr>
          <a:lstStyle>
            <a:lvl1pPr algn="l"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59956689-84E8-9F48-8FB0-24FF423DE84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99456" y="2322973"/>
            <a:ext cx="3544663" cy="643493"/>
          </a:xfrm>
        </p:spPr>
        <p:txBody>
          <a:bodyPr>
            <a:noAutofit/>
          </a:bodyPr>
          <a:lstStyle>
            <a:lvl1pPr marL="0" indent="0" algn="l"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768F384A-1FA3-7249-B61A-050D739F923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11994" y="3262978"/>
            <a:ext cx="3223416" cy="698500"/>
          </a:xfrm>
        </p:spPr>
        <p:txBody>
          <a:bodyPr>
            <a:no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/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.</a:t>
            </a:r>
          </a:p>
          <a:p>
            <a:pPr lvl="0"/>
            <a:endParaRPr lang="x-none" dirty="0"/>
          </a:p>
        </p:txBody>
      </p:sp>
      <p:sp>
        <p:nvSpPr>
          <p:cNvPr id="8" name="Tijdelijke aanduiding voor tekst 3"/>
          <p:cNvSpPr>
            <a:spLocks noGrp="1"/>
          </p:cNvSpPr>
          <p:nvPr>
            <p:ph type="body" sz="quarter" idx="49" hasCustomPrompt="1"/>
          </p:nvPr>
        </p:nvSpPr>
        <p:spPr>
          <a:xfrm>
            <a:off x="535903" y="3272149"/>
            <a:ext cx="194430" cy="194430"/>
          </a:xfrm>
          <a:prstGeom prst="ellipse">
            <a:avLst/>
          </a:prstGeom>
          <a:solidFill>
            <a:schemeClr val="accent3"/>
          </a:solidFill>
        </p:spPr>
        <p:txBody>
          <a:bodyPr/>
          <a:lstStyle>
            <a:lvl1pPr>
              <a:defRPr sz="12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200"/>
            </a:lvl5pPr>
          </a:lstStyle>
          <a:p>
            <a:pPr lvl="0"/>
            <a:r>
              <a:rPr lang="nl-NL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0943887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+ Pfeil + Tex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068FA262-6DF3-B34D-B39D-9F9B2F7AA3D9}"/>
              </a:ext>
            </a:extLst>
          </p:cNvPr>
          <p:cNvSpPr/>
          <p:nvPr userDrawn="1"/>
        </p:nvSpPr>
        <p:spPr>
          <a:xfrm>
            <a:off x="0" y="0"/>
            <a:ext cx="2553196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solidFill>
                <a:srgbClr val="FFFFFF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75BDBC76-47EB-9943-BB82-1B46BB35EBC7}"/>
              </a:ext>
            </a:extLst>
          </p:cNvPr>
          <p:cNvSpPr/>
          <p:nvPr userDrawn="1"/>
        </p:nvSpPr>
        <p:spPr>
          <a:xfrm rot="5400000">
            <a:off x="528607" y="388625"/>
            <a:ext cx="197410" cy="19741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solidFill>
                <a:srgbClr val="FFFFFF"/>
              </a:solidFill>
            </a:endParaRP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A1EC283B-FDDA-5345-B948-03D24A76CCA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5054" y="711286"/>
            <a:ext cx="2024385" cy="1355020"/>
          </a:xfrm>
        </p:spPr>
        <p:txBody>
          <a:bodyPr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42DE4887-E3A6-2544-903C-F690C384B4A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15054" y="2281995"/>
            <a:ext cx="2024385" cy="1275667"/>
          </a:xfrm>
        </p:spPr>
        <p:txBody>
          <a:bodyPr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Freeform 5"/>
          <p:cNvSpPr>
            <a:spLocks/>
          </p:cNvSpPr>
          <p:nvPr userDrawn="1"/>
        </p:nvSpPr>
        <p:spPr bwMode="auto">
          <a:xfrm>
            <a:off x="241300" y="304129"/>
            <a:ext cx="180975" cy="363538"/>
          </a:xfrm>
          <a:custGeom>
            <a:avLst/>
            <a:gdLst>
              <a:gd name="T0" fmla="*/ 0 w 189"/>
              <a:gd name="T1" fmla="*/ 0 h 377"/>
              <a:gd name="T2" fmla="*/ 0 w 189"/>
              <a:gd name="T3" fmla="*/ 0 h 377"/>
              <a:gd name="T4" fmla="*/ 189 w 189"/>
              <a:gd name="T5" fmla="*/ 188 h 377"/>
              <a:gd name="T6" fmla="*/ 0 w 189"/>
              <a:gd name="T7" fmla="*/ 377 h 3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89" h="377">
                <a:moveTo>
                  <a:pt x="0" y="0"/>
                </a:moveTo>
                <a:lnTo>
                  <a:pt x="0" y="0"/>
                </a:lnTo>
                <a:lnTo>
                  <a:pt x="189" y="188"/>
                </a:lnTo>
                <a:lnTo>
                  <a:pt x="0" y="377"/>
                </a:lnTo>
              </a:path>
            </a:pathLst>
          </a:custGeom>
          <a:noFill/>
          <a:ln w="71438" cap="flat">
            <a:solidFill>
              <a:srgbClr val="FFFFF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sp>
        <p:nvSpPr>
          <p:cNvPr id="9" name="Freeform 6"/>
          <p:cNvSpPr>
            <a:spLocks/>
          </p:cNvSpPr>
          <p:nvPr userDrawn="1"/>
        </p:nvSpPr>
        <p:spPr bwMode="auto">
          <a:xfrm>
            <a:off x="3175" y="489866"/>
            <a:ext cx="395288" cy="0"/>
          </a:xfrm>
          <a:custGeom>
            <a:avLst/>
            <a:gdLst>
              <a:gd name="T0" fmla="*/ 0 w 1654"/>
              <a:gd name="T1" fmla="*/ 0 w 1654"/>
              <a:gd name="T2" fmla="*/ 1654 w 1654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654">
                <a:moveTo>
                  <a:pt x="0" y="0"/>
                </a:moveTo>
                <a:lnTo>
                  <a:pt x="0" y="0"/>
                </a:lnTo>
                <a:lnTo>
                  <a:pt x="1654" y="0"/>
                </a:lnTo>
              </a:path>
            </a:pathLst>
          </a:custGeom>
          <a:noFill/>
          <a:ln w="71438" cap="flat">
            <a:solidFill>
              <a:srgbClr val="FFFFF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sp>
        <p:nvSpPr>
          <p:cNvPr id="12" name="Google Shape;602;p10">
            <a:extLst>
              <a:ext uri="{FF2B5EF4-FFF2-40B4-BE49-F238E27FC236}">
                <a16:creationId xmlns:a16="http://schemas.microsoft.com/office/drawing/2014/main" id="{4E680536-0C14-45F6-9163-FB91E232A205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2949611" y="711286"/>
            <a:ext cx="5718460" cy="23937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None/>
              <a:defRPr sz="800"/>
            </a:lvl1pPr>
          </a:lstStyle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None/>
            </a:pPr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.</a:t>
            </a:r>
          </a:p>
        </p:txBody>
      </p:sp>
      <p:pic>
        <p:nvPicPr>
          <p:cNvPr id="11" name="Afbeelding 25">
            <a:extLst>
              <a:ext uri="{FF2B5EF4-FFF2-40B4-BE49-F238E27FC236}">
                <a16:creationId xmlns:a16="http://schemas.microsoft.com/office/drawing/2014/main" id="{E2C5F1ED-D043-0C48-AE8E-C4DF6A60207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3335" y="4743578"/>
            <a:ext cx="634736" cy="24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471285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+ Tex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068FA262-6DF3-B34D-B39D-9F9B2F7AA3D9}"/>
              </a:ext>
            </a:extLst>
          </p:cNvPr>
          <p:cNvSpPr/>
          <p:nvPr userDrawn="1"/>
        </p:nvSpPr>
        <p:spPr>
          <a:xfrm>
            <a:off x="0" y="0"/>
            <a:ext cx="2553196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solidFill>
                <a:srgbClr val="FFFFFF"/>
              </a:solidFill>
            </a:endParaRP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A1EC283B-FDDA-5345-B948-03D24A76CCA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5054" y="711286"/>
            <a:ext cx="2024385" cy="1355020"/>
          </a:xfrm>
        </p:spPr>
        <p:txBody>
          <a:bodyPr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42DE4887-E3A6-2544-903C-F690C384B4A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15054" y="2281995"/>
            <a:ext cx="2024385" cy="1275667"/>
          </a:xfrm>
        </p:spPr>
        <p:txBody>
          <a:bodyPr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Google Shape;602;p10">
            <a:extLst>
              <a:ext uri="{FF2B5EF4-FFF2-40B4-BE49-F238E27FC236}">
                <a16:creationId xmlns:a16="http://schemas.microsoft.com/office/drawing/2014/main" id="{22B2CF79-F9D5-934E-8780-6B274C212FFC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2949611" y="711286"/>
            <a:ext cx="5718460" cy="23937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None/>
              <a:defRPr sz="800"/>
            </a:lvl1pPr>
          </a:lstStyle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None/>
            </a:pPr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.</a:t>
            </a:r>
          </a:p>
        </p:txBody>
      </p:sp>
      <p:pic>
        <p:nvPicPr>
          <p:cNvPr id="8" name="Afbeelding 25">
            <a:extLst>
              <a:ext uri="{FF2B5EF4-FFF2-40B4-BE49-F238E27FC236}">
                <a16:creationId xmlns:a16="http://schemas.microsoft.com/office/drawing/2014/main" id="{21E39E9E-0DEC-A74B-874C-79CD655DA3D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3335" y="4743578"/>
            <a:ext cx="634736" cy="24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596448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+ Text unterleg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068FA262-6DF3-B34D-B39D-9F9B2F7AA3D9}"/>
              </a:ext>
            </a:extLst>
          </p:cNvPr>
          <p:cNvSpPr/>
          <p:nvPr userDrawn="1"/>
        </p:nvSpPr>
        <p:spPr>
          <a:xfrm>
            <a:off x="6590804" y="0"/>
            <a:ext cx="2553196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solidFill>
                <a:srgbClr val="FFFFFF"/>
              </a:solidFill>
            </a:endParaRP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12476E13-55DE-C94B-8E41-FCC97D89B806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70410" y="815163"/>
            <a:ext cx="5653036" cy="320400"/>
          </a:xfrm>
        </p:spPr>
        <p:txBody>
          <a:bodyPr lIns="46800" anchor="t"/>
          <a:lstStyle>
            <a:lvl1pPr algn="l">
              <a:defRPr sz="1000">
                <a:solidFill>
                  <a:schemeClr val="tx2"/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itel 4">
            <a:extLst>
              <a:ext uri="{FF2B5EF4-FFF2-40B4-BE49-F238E27FC236}">
                <a16:creationId xmlns:a16="http://schemas.microsoft.com/office/drawing/2014/main" id="{B087534A-597B-A544-ABEF-9D1A2CB6A0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0410" y="165671"/>
            <a:ext cx="5653036" cy="540000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/>
              <a:t>Click to edit Master title style</a:t>
            </a:r>
            <a:endParaRPr lang="nl-NL" dirty="0"/>
          </a:p>
        </p:txBody>
      </p:sp>
      <p:sp>
        <p:nvSpPr>
          <p:cNvPr id="6" name="Google Shape;602;p10">
            <a:extLst>
              <a:ext uri="{FF2B5EF4-FFF2-40B4-BE49-F238E27FC236}">
                <a16:creationId xmlns:a16="http://schemas.microsoft.com/office/drawing/2014/main" id="{366CD210-A30D-45AC-8585-F2396EB7A855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6820342" y="711286"/>
            <a:ext cx="2096777" cy="23937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None/>
              <a:defRPr sz="800">
                <a:solidFill>
                  <a:schemeClr val="bg1"/>
                </a:solidFill>
              </a:defRPr>
            </a:lvl1pPr>
          </a:lstStyle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None/>
            </a:pPr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.</a:t>
            </a:r>
          </a:p>
        </p:txBody>
      </p:sp>
      <p:pic>
        <p:nvPicPr>
          <p:cNvPr id="8" name="Afbeelding 3">
            <a:extLst>
              <a:ext uri="{FF2B5EF4-FFF2-40B4-BE49-F238E27FC236}">
                <a16:creationId xmlns:a16="http://schemas.microsoft.com/office/drawing/2014/main" id="{3BD549FD-1078-0B42-8E25-62F313E1ABD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3335" y="4743578"/>
            <a:ext cx="634737" cy="24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723886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ere Folie hellbla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2609240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folie | Titel + Tex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hoek 2"/>
          <p:cNvSpPr/>
          <p:nvPr userDrawn="1"/>
        </p:nvSpPr>
        <p:spPr>
          <a:xfrm>
            <a:off x="4573588" y="0"/>
            <a:ext cx="4570412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9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5237034" y="1257961"/>
            <a:ext cx="3243520" cy="1336673"/>
          </a:xfrm>
        </p:spPr>
        <p:txBody>
          <a:bodyPr lIns="36000" tIns="0" anchor="b"/>
          <a:lstStyle>
            <a:lvl1pPr marL="0" indent="0" algn="ctr">
              <a:buNone/>
              <a:defRPr sz="2400" b="1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45985" y="1263246"/>
            <a:ext cx="3283821" cy="1331388"/>
          </a:xfrm>
        </p:spPr>
        <p:txBody>
          <a:bodyPr anchor="b" anchorCtr="0"/>
          <a:lstStyle>
            <a:lvl1pPr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NL" dirty="0"/>
          </a:p>
        </p:txBody>
      </p:sp>
      <p:pic>
        <p:nvPicPr>
          <p:cNvPr id="6" name="Afbeelding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0728" y="3013696"/>
            <a:ext cx="1489942" cy="56617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5769518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folie | Titel + Text + Pfei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hoek 2"/>
          <p:cNvSpPr/>
          <p:nvPr userDrawn="1"/>
        </p:nvSpPr>
        <p:spPr>
          <a:xfrm>
            <a:off x="4573588" y="0"/>
            <a:ext cx="4570412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19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5237034" y="1257961"/>
            <a:ext cx="3243520" cy="1336673"/>
          </a:xfrm>
        </p:spPr>
        <p:txBody>
          <a:bodyPr lIns="36000" tIns="0" anchor="b"/>
          <a:lstStyle>
            <a:lvl1pPr marL="0" indent="0" algn="ctr">
              <a:buNone/>
              <a:defRPr sz="2400" b="1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45985" y="1263246"/>
            <a:ext cx="3283821" cy="1331388"/>
          </a:xfrm>
        </p:spPr>
        <p:txBody>
          <a:bodyPr anchor="b" anchorCtr="0"/>
          <a:lstStyle>
            <a:lvl1pPr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NL" dirty="0"/>
          </a:p>
        </p:txBody>
      </p:sp>
      <p:sp>
        <p:nvSpPr>
          <p:cNvPr id="14" name="Oval 2">
            <a:extLst>
              <a:ext uri="{FF2B5EF4-FFF2-40B4-BE49-F238E27FC236}">
                <a16:creationId xmlns:a16="http://schemas.microsoft.com/office/drawing/2014/main" id="{0F094E69-A9A4-E245-B767-1BA85D09C514}"/>
              </a:ext>
            </a:extLst>
          </p:cNvPr>
          <p:cNvSpPr/>
          <p:nvPr userDrawn="1"/>
        </p:nvSpPr>
        <p:spPr>
          <a:xfrm>
            <a:off x="2100319" y="2926786"/>
            <a:ext cx="212386" cy="212386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5" name="Oval 13">
            <a:extLst>
              <a:ext uri="{FF2B5EF4-FFF2-40B4-BE49-F238E27FC236}">
                <a16:creationId xmlns:a16="http://schemas.microsoft.com/office/drawing/2014/main" id="{6774D145-A843-7D47-ACA5-BA7F5FFB8D7B}"/>
              </a:ext>
            </a:extLst>
          </p:cNvPr>
          <p:cNvSpPr/>
          <p:nvPr userDrawn="1"/>
        </p:nvSpPr>
        <p:spPr>
          <a:xfrm>
            <a:off x="6709741" y="2931283"/>
            <a:ext cx="212386" cy="212386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grpSp>
        <p:nvGrpSpPr>
          <p:cNvPr id="5" name="Group 4"/>
          <p:cNvGrpSpPr>
            <a:grpSpLocks noChangeAspect="1"/>
          </p:cNvGrpSpPr>
          <p:nvPr userDrawn="1"/>
        </p:nvGrpSpPr>
        <p:grpSpPr bwMode="auto">
          <a:xfrm>
            <a:off x="2174901" y="3228975"/>
            <a:ext cx="4802187" cy="755650"/>
            <a:chOff x="1385" y="2034"/>
            <a:chExt cx="3025" cy="476"/>
          </a:xfrm>
        </p:grpSpPr>
        <p:sp>
          <p:nvSpPr>
            <p:cNvPr id="6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1385" y="2034"/>
              <a:ext cx="3025" cy="4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7" name="Freeform 5"/>
            <p:cNvSpPr>
              <a:spLocks/>
            </p:cNvSpPr>
            <p:nvPr userDrawn="1"/>
          </p:nvSpPr>
          <p:spPr bwMode="auto">
            <a:xfrm>
              <a:off x="4220" y="2056"/>
              <a:ext cx="182" cy="93"/>
            </a:xfrm>
            <a:custGeom>
              <a:avLst/>
              <a:gdLst>
                <a:gd name="T0" fmla="*/ 0 w 377"/>
                <a:gd name="T1" fmla="*/ 189 h 189"/>
                <a:gd name="T2" fmla="*/ 0 w 377"/>
                <a:gd name="T3" fmla="*/ 189 h 189"/>
                <a:gd name="T4" fmla="*/ 188 w 377"/>
                <a:gd name="T5" fmla="*/ 0 h 189"/>
                <a:gd name="T6" fmla="*/ 377 w 377"/>
                <a:gd name="T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7" h="189">
                  <a:moveTo>
                    <a:pt x="0" y="189"/>
                  </a:moveTo>
                  <a:lnTo>
                    <a:pt x="0" y="189"/>
                  </a:lnTo>
                  <a:lnTo>
                    <a:pt x="188" y="0"/>
                  </a:lnTo>
                  <a:lnTo>
                    <a:pt x="377" y="189"/>
                  </a:lnTo>
                </a:path>
              </a:pathLst>
            </a:custGeom>
            <a:noFill/>
            <a:ln w="57150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8" name="Freeform 6"/>
            <p:cNvSpPr>
              <a:spLocks/>
            </p:cNvSpPr>
            <p:nvPr userDrawn="1"/>
          </p:nvSpPr>
          <p:spPr bwMode="auto">
            <a:xfrm>
              <a:off x="1403" y="2039"/>
              <a:ext cx="2909" cy="457"/>
            </a:xfrm>
            <a:custGeom>
              <a:avLst/>
              <a:gdLst>
                <a:gd name="T0" fmla="*/ 0 w 6027"/>
                <a:gd name="T1" fmla="*/ 0 h 930"/>
                <a:gd name="T2" fmla="*/ 0 w 6027"/>
                <a:gd name="T3" fmla="*/ 0 h 930"/>
                <a:gd name="T4" fmla="*/ 2 w 6027"/>
                <a:gd name="T5" fmla="*/ 535 h 930"/>
                <a:gd name="T6" fmla="*/ 396 w 6027"/>
                <a:gd name="T7" fmla="*/ 930 h 930"/>
                <a:gd name="T8" fmla="*/ 5633 w 6027"/>
                <a:gd name="T9" fmla="*/ 930 h 930"/>
                <a:gd name="T10" fmla="*/ 6027 w 6027"/>
                <a:gd name="T11" fmla="*/ 535 h 9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027" h="930">
                  <a:moveTo>
                    <a:pt x="0" y="0"/>
                  </a:moveTo>
                  <a:lnTo>
                    <a:pt x="0" y="0"/>
                  </a:lnTo>
                  <a:lnTo>
                    <a:pt x="2" y="535"/>
                  </a:lnTo>
                  <a:cubicBezTo>
                    <a:pt x="2" y="753"/>
                    <a:pt x="178" y="930"/>
                    <a:pt x="396" y="930"/>
                  </a:cubicBezTo>
                  <a:lnTo>
                    <a:pt x="5633" y="930"/>
                  </a:lnTo>
                  <a:cubicBezTo>
                    <a:pt x="5851" y="930"/>
                    <a:pt x="6027" y="753"/>
                    <a:pt x="6027" y="535"/>
                  </a:cubicBezTo>
                </a:path>
              </a:pathLst>
            </a:custGeom>
            <a:noFill/>
            <a:ln w="57150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0" name="Freeform 7"/>
            <p:cNvSpPr>
              <a:spLocks/>
            </p:cNvSpPr>
            <p:nvPr userDrawn="1"/>
          </p:nvSpPr>
          <p:spPr bwMode="auto">
            <a:xfrm>
              <a:off x="4312" y="2068"/>
              <a:ext cx="0" cy="234"/>
            </a:xfrm>
            <a:custGeom>
              <a:avLst/>
              <a:gdLst>
                <a:gd name="T0" fmla="*/ 477 h 477"/>
                <a:gd name="T1" fmla="*/ 477 h 477"/>
                <a:gd name="T2" fmla="*/ 0 h 477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477">
                  <a:moveTo>
                    <a:pt x="0" y="477"/>
                  </a:moveTo>
                  <a:lnTo>
                    <a:pt x="0" y="477"/>
                  </a:lnTo>
                  <a:lnTo>
                    <a:pt x="0" y="0"/>
                  </a:lnTo>
                </a:path>
              </a:pathLst>
            </a:custGeom>
            <a:noFill/>
            <a:ln w="57150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</p:grpSp>
    </p:spTree>
    <p:extLst>
      <p:ext uri="{BB962C8B-B14F-4D97-AF65-F5344CB8AC3E}">
        <p14:creationId xmlns:p14="http://schemas.microsoft.com/office/powerpoint/2010/main" val="82804984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folie | Titel + Bil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Afbeelding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0728" y="3013696"/>
            <a:ext cx="1489942" cy="566178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Rechthoek 2"/>
          <p:cNvSpPr/>
          <p:nvPr userDrawn="1"/>
        </p:nvSpPr>
        <p:spPr>
          <a:xfrm>
            <a:off x="4573588" y="0"/>
            <a:ext cx="4570412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45985" y="1263246"/>
            <a:ext cx="3283821" cy="1331388"/>
          </a:xfrm>
        </p:spPr>
        <p:txBody>
          <a:bodyPr anchor="b" anchorCtr="0"/>
          <a:lstStyle>
            <a:lvl1pPr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NL" dirty="0"/>
          </a:p>
        </p:txBody>
      </p:sp>
      <p:sp>
        <p:nvSpPr>
          <p:cNvPr id="14" name="Tijdelijke aanduiding voor afbeelding 3"/>
          <p:cNvSpPr>
            <a:spLocks noGrp="1" noChangeAspect="1"/>
          </p:cNvSpPr>
          <p:nvPr>
            <p:ph type="pic" sz="quarter" idx="13"/>
          </p:nvPr>
        </p:nvSpPr>
        <p:spPr>
          <a:xfrm>
            <a:off x="4573588" y="0"/>
            <a:ext cx="4570412" cy="5143500"/>
          </a:xfrm>
          <a:solidFill>
            <a:schemeClr val="bg1">
              <a:lumMod val="85000"/>
            </a:schemeClr>
          </a:solidFill>
        </p:spPr>
        <p:txBody>
          <a:bodyPr lIns="144000" tIns="108000"/>
          <a:lstStyle/>
          <a:p>
            <a:r>
              <a:rPr lang="en-US"/>
              <a:t>Click icon to add pictur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2084943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folie INTERN | Pfeil run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69"/>
          <p:cNvSpPr>
            <a:spLocks/>
          </p:cNvSpPr>
          <p:nvPr/>
        </p:nvSpPr>
        <p:spPr bwMode="auto">
          <a:xfrm>
            <a:off x="5489826" y="2853951"/>
            <a:ext cx="263525" cy="271463"/>
          </a:xfrm>
          <a:custGeom>
            <a:avLst/>
            <a:gdLst>
              <a:gd name="T0" fmla="*/ 352 w 352"/>
              <a:gd name="T1" fmla="*/ 176 h 352"/>
              <a:gd name="T2" fmla="*/ 352 w 352"/>
              <a:gd name="T3" fmla="*/ 176 h 352"/>
              <a:gd name="T4" fmla="*/ 176 w 352"/>
              <a:gd name="T5" fmla="*/ 352 h 352"/>
              <a:gd name="T6" fmla="*/ 0 w 352"/>
              <a:gd name="T7" fmla="*/ 176 h 352"/>
              <a:gd name="T8" fmla="*/ 176 w 352"/>
              <a:gd name="T9" fmla="*/ 0 h 352"/>
              <a:gd name="T10" fmla="*/ 352 w 352"/>
              <a:gd name="T11" fmla="*/ 176 h 3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52" h="352">
                <a:moveTo>
                  <a:pt x="352" y="176"/>
                </a:moveTo>
                <a:lnTo>
                  <a:pt x="352" y="176"/>
                </a:lnTo>
                <a:cubicBezTo>
                  <a:pt x="352" y="273"/>
                  <a:pt x="274" y="352"/>
                  <a:pt x="176" y="352"/>
                </a:cubicBezTo>
                <a:cubicBezTo>
                  <a:pt x="79" y="352"/>
                  <a:pt x="0" y="273"/>
                  <a:pt x="0" y="176"/>
                </a:cubicBezTo>
                <a:cubicBezTo>
                  <a:pt x="0" y="79"/>
                  <a:pt x="79" y="0"/>
                  <a:pt x="176" y="0"/>
                </a:cubicBezTo>
                <a:cubicBezTo>
                  <a:pt x="274" y="0"/>
                  <a:pt x="352" y="79"/>
                  <a:pt x="352" y="176"/>
                </a:cubicBezTo>
                <a:close/>
              </a:path>
            </a:pathLst>
          </a:custGeom>
          <a:solidFill>
            <a:schemeClr val="accent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sp>
        <p:nvSpPr>
          <p:cNvPr id="9" name="Freeform 72"/>
          <p:cNvSpPr>
            <a:spLocks/>
          </p:cNvSpPr>
          <p:nvPr/>
        </p:nvSpPr>
        <p:spPr bwMode="auto">
          <a:xfrm>
            <a:off x="3137328" y="2855539"/>
            <a:ext cx="270000" cy="269875"/>
          </a:xfrm>
          <a:custGeom>
            <a:avLst/>
            <a:gdLst>
              <a:gd name="T0" fmla="*/ 352 w 352"/>
              <a:gd name="T1" fmla="*/ 176 h 352"/>
              <a:gd name="T2" fmla="*/ 352 w 352"/>
              <a:gd name="T3" fmla="*/ 176 h 352"/>
              <a:gd name="T4" fmla="*/ 176 w 352"/>
              <a:gd name="T5" fmla="*/ 352 h 352"/>
              <a:gd name="T6" fmla="*/ 0 w 352"/>
              <a:gd name="T7" fmla="*/ 176 h 352"/>
              <a:gd name="T8" fmla="*/ 176 w 352"/>
              <a:gd name="T9" fmla="*/ 0 h 352"/>
              <a:gd name="T10" fmla="*/ 352 w 352"/>
              <a:gd name="T11" fmla="*/ 176 h 3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52" h="352">
                <a:moveTo>
                  <a:pt x="352" y="176"/>
                </a:moveTo>
                <a:lnTo>
                  <a:pt x="352" y="176"/>
                </a:lnTo>
                <a:cubicBezTo>
                  <a:pt x="352" y="273"/>
                  <a:pt x="273" y="352"/>
                  <a:pt x="176" y="352"/>
                </a:cubicBezTo>
                <a:cubicBezTo>
                  <a:pt x="78" y="352"/>
                  <a:pt x="0" y="273"/>
                  <a:pt x="0" y="176"/>
                </a:cubicBezTo>
                <a:cubicBezTo>
                  <a:pt x="0" y="79"/>
                  <a:pt x="78" y="0"/>
                  <a:pt x="176" y="0"/>
                </a:cubicBezTo>
                <a:cubicBezTo>
                  <a:pt x="273" y="0"/>
                  <a:pt x="352" y="79"/>
                  <a:pt x="352" y="176"/>
                </a:cubicBez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grpSp>
        <p:nvGrpSpPr>
          <p:cNvPr id="10" name="Groep 9"/>
          <p:cNvGrpSpPr/>
          <p:nvPr userDrawn="1"/>
        </p:nvGrpSpPr>
        <p:grpSpPr>
          <a:xfrm>
            <a:off x="3264010" y="3316245"/>
            <a:ext cx="2532016" cy="1180752"/>
            <a:chOff x="3264010" y="3340100"/>
            <a:chExt cx="2532016" cy="1180752"/>
          </a:xfrm>
        </p:grpSpPr>
        <p:sp>
          <p:nvSpPr>
            <p:cNvPr id="7" name="Freeform 70"/>
            <p:cNvSpPr>
              <a:spLocks/>
            </p:cNvSpPr>
            <p:nvPr/>
          </p:nvSpPr>
          <p:spPr bwMode="auto">
            <a:xfrm rot="16200000">
              <a:off x="5533295" y="3248818"/>
              <a:ext cx="171450" cy="354013"/>
            </a:xfrm>
            <a:custGeom>
              <a:avLst/>
              <a:gdLst>
                <a:gd name="T0" fmla="*/ 0 w 229"/>
                <a:gd name="T1" fmla="*/ 0 h 460"/>
                <a:gd name="T2" fmla="*/ 0 w 229"/>
                <a:gd name="T3" fmla="*/ 0 h 460"/>
                <a:gd name="T4" fmla="*/ 229 w 229"/>
                <a:gd name="T5" fmla="*/ 230 h 460"/>
                <a:gd name="T6" fmla="*/ 0 w 229"/>
                <a:gd name="T7" fmla="*/ 460 h 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9" h="460">
                  <a:moveTo>
                    <a:pt x="0" y="0"/>
                  </a:moveTo>
                  <a:lnTo>
                    <a:pt x="0" y="0"/>
                  </a:lnTo>
                  <a:lnTo>
                    <a:pt x="229" y="230"/>
                  </a:lnTo>
                  <a:lnTo>
                    <a:pt x="0" y="460"/>
                  </a:lnTo>
                </a:path>
              </a:pathLst>
            </a:custGeom>
            <a:noFill/>
            <a:ln w="77788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3" name="Ovaal 2"/>
            <p:cNvSpPr/>
            <p:nvPr userDrawn="1"/>
          </p:nvSpPr>
          <p:spPr>
            <a:xfrm>
              <a:off x="3264010" y="3340100"/>
              <a:ext cx="2361504" cy="1180752"/>
            </a:xfrm>
            <a:custGeom>
              <a:avLst/>
              <a:gdLst>
                <a:gd name="connsiteX0" fmla="*/ 0 w 2719347"/>
                <a:gd name="connsiteY0" fmla="*/ 1359674 h 2719347"/>
                <a:gd name="connsiteX1" fmla="*/ 1359674 w 2719347"/>
                <a:gd name="connsiteY1" fmla="*/ 0 h 2719347"/>
                <a:gd name="connsiteX2" fmla="*/ 2719348 w 2719347"/>
                <a:gd name="connsiteY2" fmla="*/ 1359674 h 2719347"/>
                <a:gd name="connsiteX3" fmla="*/ 1359674 w 2719347"/>
                <a:gd name="connsiteY3" fmla="*/ 2719348 h 2719347"/>
                <a:gd name="connsiteX4" fmla="*/ 0 w 2719347"/>
                <a:gd name="connsiteY4" fmla="*/ 1359674 h 2719347"/>
                <a:gd name="connsiteX0" fmla="*/ 50058 w 2769406"/>
                <a:gd name="connsiteY0" fmla="*/ 1395878 h 2755552"/>
                <a:gd name="connsiteX1" fmla="*/ 399916 w 2769406"/>
                <a:gd name="connsiteY1" fmla="*/ 477495 h 2755552"/>
                <a:gd name="connsiteX2" fmla="*/ 1409732 w 2769406"/>
                <a:gd name="connsiteY2" fmla="*/ 36204 h 2755552"/>
                <a:gd name="connsiteX3" fmla="*/ 2769406 w 2769406"/>
                <a:gd name="connsiteY3" fmla="*/ 1395878 h 2755552"/>
                <a:gd name="connsiteX4" fmla="*/ 1409732 w 2769406"/>
                <a:gd name="connsiteY4" fmla="*/ 2755552 h 2755552"/>
                <a:gd name="connsiteX5" fmla="*/ 50058 w 2769406"/>
                <a:gd name="connsiteY5" fmla="*/ 1395878 h 2755552"/>
                <a:gd name="connsiteX0" fmla="*/ 399131 w 2768621"/>
                <a:gd name="connsiteY0" fmla="*/ 477495 h 2755552"/>
                <a:gd name="connsiteX1" fmla="*/ 1408947 w 2768621"/>
                <a:gd name="connsiteY1" fmla="*/ 36204 h 2755552"/>
                <a:gd name="connsiteX2" fmla="*/ 2768621 w 2768621"/>
                <a:gd name="connsiteY2" fmla="*/ 1395878 h 2755552"/>
                <a:gd name="connsiteX3" fmla="*/ 1408947 w 2768621"/>
                <a:gd name="connsiteY3" fmla="*/ 2755552 h 2755552"/>
                <a:gd name="connsiteX4" fmla="*/ 49273 w 2768621"/>
                <a:gd name="connsiteY4" fmla="*/ 1395878 h 2755552"/>
                <a:gd name="connsiteX5" fmla="*/ 490571 w 2768621"/>
                <a:gd name="connsiteY5" fmla="*/ 568935 h 2755552"/>
                <a:gd name="connsiteX0" fmla="*/ 349858 w 2719348"/>
                <a:gd name="connsiteY0" fmla="*/ 477495 h 2755552"/>
                <a:gd name="connsiteX1" fmla="*/ 1359674 w 2719348"/>
                <a:gd name="connsiteY1" fmla="*/ 36204 h 2755552"/>
                <a:gd name="connsiteX2" fmla="*/ 2719348 w 2719348"/>
                <a:gd name="connsiteY2" fmla="*/ 1395878 h 2755552"/>
                <a:gd name="connsiteX3" fmla="*/ 1359674 w 2719348"/>
                <a:gd name="connsiteY3" fmla="*/ 2755552 h 2755552"/>
                <a:gd name="connsiteX4" fmla="*/ 0 w 2719348"/>
                <a:gd name="connsiteY4" fmla="*/ 1395878 h 2755552"/>
                <a:gd name="connsiteX0" fmla="*/ 1359674 w 2719348"/>
                <a:gd name="connsiteY0" fmla="*/ 0 h 2719348"/>
                <a:gd name="connsiteX1" fmla="*/ 2719348 w 2719348"/>
                <a:gd name="connsiteY1" fmla="*/ 1359674 h 2719348"/>
                <a:gd name="connsiteX2" fmla="*/ 1359674 w 2719348"/>
                <a:gd name="connsiteY2" fmla="*/ 2719348 h 2719348"/>
                <a:gd name="connsiteX3" fmla="*/ 0 w 2719348"/>
                <a:gd name="connsiteY3" fmla="*/ 1359674 h 2719348"/>
                <a:gd name="connsiteX0" fmla="*/ 2719348 w 2719348"/>
                <a:gd name="connsiteY0" fmla="*/ 0 h 1359674"/>
                <a:gd name="connsiteX1" fmla="*/ 1359674 w 2719348"/>
                <a:gd name="connsiteY1" fmla="*/ 1359674 h 1359674"/>
                <a:gd name="connsiteX2" fmla="*/ 0 w 2719348"/>
                <a:gd name="connsiteY2" fmla="*/ 0 h 1359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19348" h="1359674">
                  <a:moveTo>
                    <a:pt x="2719348" y="0"/>
                  </a:moveTo>
                  <a:cubicBezTo>
                    <a:pt x="2719348" y="750927"/>
                    <a:pt x="2110601" y="1359674"/>
                    <a:pt x="1359674" y="1359674"/>
                  </a:cubicBezTo>
                  <a:cubicBezTo>
                    <a:pt x="608747" y="1359674"/>
                    <a:pt x="0" y="750927"/>
                    <a:pt x="0" y="0"/>
                  </a:cubicBezTo>
                </a:path>
              </a:pathLst>
            </a:custGeom>
            <a:noFill/>
            <a:ln w="77788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nl-NL" dirty="0" err="1"/>
            </a:p>
          </p:txBody>
        </p:sp>
      </p:grpSp>
      <p:sp>
        <p:nvSpPr>
          <p:cNvPr id="12" name="Titel 1">
            <a:extLst>
              <a:ext uri="{FF2B5EF4-FFF2-40B4-BE49-F238E27FC236}">
                <a16:creationId xmlns:a16="http://schemas.microsoft.com/office/drawing/2014/main" id="{F9C57B79-AA28-9245-A716-65172A82E87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4989" y="2023564"/>
            <a:ext cx="8120538" cy="528794"/>
          </a:xfrm>
        </p:spPr>
        <p:txBody>
          <a:bodyPr wrap="square" anchor="b" anchorCtr="0">
            <a:normAutofit/>
          </a:bodyPr>
          <a:lstStyle>
            <a:lvl1pPr algn="ctr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NL" dirty="0"/>
          </a:p>
        </p:txBody>
      </p:sp>
      <p:pic>
        <p:nvPicPr>
          <p:cNvPr id="11" name="Afbeelding 3">
            <a:extLst>
              <a:ext uri="{FF2B5EF4-FFF2-40B4-BE49-F238E27FC236}">
                <a16:creationId xmlns:a16="http://schemas.microsoft.com/office/drawing/2014/main" id="{BDCBFFAD-443B-FA46-8E52-743306638C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3335" y="4743578"/>
            <a:ext cx="634737" cy="24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864389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folie einfach blau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Afbeelding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0152" y="2893511"/>
            <a:ext cx="1793202" cy="681416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itel 1">
            <a:extLst>
              <a:ext uri="{FF2B5EF4-FFF2-40B4-BE49-F238E27FC236}">
                <a16:creationId xmlns:a16="http://schemas.microsoft.com/office/drawing/2014/main" id="{4992928A-A860-3D41-A533-CE6B6D7242B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4989" y="2023564"/>
            <a:ext cx="8120538" cy="528794"/>
          </a:xfrm>
        </p:spPr>
        <p:txBody>
          <a:bodyPr wrap="square" anchor="b" anchorCtr="0">
            <a:normAutofit/>
          </a:bodyPr>
          <a:lstStyle>
            <a:lvl1pPr algn="ctr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6826750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| Titel + Untertite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oogle Shape;34;p30" descr="Google Shape;590;p108">
            <a:extLst>
              <a:ext uri="{FF2B5EF4-FFF2-40B4-BE49-F238E27FC236}">
                <a16:creationId xmlns:a16="http://schemas.microsoft.com/office/drawing/2014/main" id="{DE78D77F-7CEA-7445-AB38-6B62949CD4DC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 t="12379" b="54234"/>
          <a:stretch/>
        </p:blipFill>
        <p:spPr>
          <a:xfrm rot="10800000">
            <a:off x="4214373" y="0"/>
            <a:ext cx="715253" cy="1559300"/>
          </a:xfrm>
          <a:prstGeom prst="rect">
            <a:avLst/>
          </a:prstGeom>
          <a:noFill/>
          <a:ln>
            <a:noFill/>
          </a:ln>
        </p:spPr>
      </p:pic>
      <p:sp>
        <p:nvSpPr>
          <p:cNvPr id="18" name="Google Shape;35;p30">
            <a:extLst>
              <a:ext uri="{FF2B5EF4-FFF2-40B4-BE49-F238E27FC236}">
                <a16:creationId xmlns:a16="http://schemas.microsoft.com/office/drawing/2014/main" id="{5778EE5D-964D-7F4C-BD03-847B71CD6185}"/>
              </a:ext>
            </a:extLst>
          </p:cNvPr>
          <p:cNvSpPr/>
          <p:nvPr userDrawn="1"/>
        </p:nvSpPr>
        <p:spPr>
          <a:xfrm flipH="1">
            <a:off x="4402980" y="1623293"/>
            <a:ext cx="338039" cy="338039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A826E10C-9F3B-EB43-9D06-8E62210F9A8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34988" y="2958454"/>
            <a:ext cx="8120538" cy="444500"/>
          </a:xfrm>
        </p:spPr>
        <p:txBody>
          <a:bodyPr anchor="t"/>
          <a:lstStyle>
            <a:lvl1pPr algn="ctr">
              <a:defRPr sz="1600">
                <a:solidFill>
                  <a:schemeClr val="bg1"/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9C533977-CAB6-B949-AC99-F2C844DC732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4989" y="2340686"/>
            <a:ext cx="8120538" cy="528794"/>
          </a:xfrm>
        </p:spPr>
        <p:txBody>
          <a:bodyPr wrap="square" anchor="b" anchorCtr="0">
            <a:normAutofit/>
          </a:bodyPr>
          <a:lstStyle>
            <a:lvl1pPr algn="ctr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NL" dirty="0"/>
          </a:p>
        </p:txBody>
      </p:sp>
      <p:pic>
        <p:nvPicPr>
          <p:cNvPr id="7" name="Afbeelding 3">
            <a:extLst>
              <a:ext uri="{FF2B5EF4-FFF2-40B4-BE49-F238E27FC236}">
                <a16:creationId xmlns:a16="http://schemas.microsoft.com/office/drawing/2014/main" id="{60698BB1-AE1E-7748-83FE-50960F808C8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3335" y="4743578"/>
            <a:ext cx="634737" cy="24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249705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folie einfach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Afbeelding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0153" y="2893511"/>
            <a:ext cx="1793199" cy="681416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itel 1">
            <a:extLst>
              <a:ext uri="{FF2B5EF4-FFF2-40B4-BE49-F238E27FC236}">
                <a16:creationId xmlns:a16="http://schemas.microsoft.com/office/drawing/2014/main" id="{D35F5B8A-9390-9542-8E05-73A6C0600EE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4989" y="2023564"/>
            <a:ext cx="8120538" cy="528794"/>
          </a:xfrm>
        </p:spPr>
        <p:txBody>
          <a:bodyPr wrap="square" anchor="b" anchorCtr="0">
            <a:normAutofit/>
          </a:bodyPr>
          <a:lstStyle>
            <a:lvl1pPr algn="ctr"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7479599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| Titel + Tex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34988" y="1276350"/>
            <a:ext cx="3053118" cy="1913077"/>
          </a:xfrm>
        </p:spPr>
        <p:txBody>
          <a:bodyPr anchor="ctr" anchorCtr="0"/>
          <a:lstStyle>
            <a:lvl1pPr algn="ctr"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NL" dirty="0"/>
          </a:p>
        </p:txBody>
      </p:sp>
      <p:sp>
        <p:nvSpPr>
          <p:cNvPr id="14" name="Oval 2">
            <a:extLst>
              <a:ext uri="{FF2B5EF4-FFF2-40B4-BE49-F238E27FC236}">
                <a16:creationId xmlns:a16="http://schemas.microsoft.com/office/drawing/2014/main" id="{0F094E69-A9A4-E245-B767-1BA85D09C514}"/>
              </a:ext>
            </a:extLst>
          </p:cNvPr>
          <p:cNvSpPr/>
          <p:nvPr userDrawn="1"/>
        </p:nvSpPr>
        <p:spPr>
          <a:xfrm rot="5400000">
            <a:off x="5479098" y="2132634"/>
            <a:ext cx="197410" cy="19741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solidFill>
                <a:srgbClr val="FFFFFF"/>
              </a:solidFill>
            </a:endParaRPr>
          </a:p>
        </p:txBody>
      </p:sp>
      <p:grpSp>
        <p:nvGrpSpPr>
          <p:cNvPr id="3" name="Group 4"/>
          <p:cNvGrpSpPr>
            <a:grpSpLocks noChangeAspect="1"/>
          </p:cNvGrpSpPr>
          <p:nvPr userDrawn="1"/>
        </p:nvGrpSpPr>
        <p:grpSpPr bwMode="auto">
          <a:xfrm>
            <a:off x="3740150" y="2029688"/>
            <a:ext cx="1651000" cy="406400"/>
            <a:chOff x="2356" y="1429"/>
            <a:chExt cx="1040" cy="256"/>
          </a:xfrm>
        </p:grpSpPr>
        <p:sp>
          <p:nvSpPr>
            <p:cNvPr id="4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2356" y="1429"/>
              <a:ext cx="1040" cy="2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5" name="Freeform 5"/>
            <p:cNvSpPr>
              <a:spLocks/>
            </p:cNvSpPr>
            <p:nvPr userDrawn="1"/>
          </p:nvSpPr>
          <p:spPr bwMode="auto">
            <a:xfrm>
              <a:off x="3258" y="1440"/>
              <a:ext cx="114" cy="229"/>
            </a:xfrm>
            <a:custGeom>
              <a:avLst/>
              <a:gdLst>
                <a:gd name="T0" fmla="*/ 0 w 189"/>
                <a:gd name="T1" fmla="*/ 0 h 377"/>
                <a:gd name="T2" fmla="*/ 0 w 189"/>
                <a:gd name="T3" fmla="*/ 0 h 377"/>
                <a:gd name="T4" fmla="*/ 189 w 189"/>
                <a:gd name="T5" fmla="*/ 188 h 377"/>
                <a:gd name="T6" fmla="*/ 0 w 189"/>
                <a:gd name="T7" fmla="*/ 377 h 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9" h="377">
                  <a:moveTo>
                    <a:pt x="0" y="0"/>
                  </a:moveTo>
                  <a:lnTo>
                    <a:pt x="0" y="0"/>
                  </a:lnTo>
                  <a:lnTo>
                    <a:pt x="189" y="188"/>
                  </a:lnTo>
                  <a:lnTo>
                    <a:pt x="0" y="377"/>
                  </a:lnTo>
                </a:path>
              </a:pathLst>
            </a:custGeom>
            <a:noFill/>
            <a:ln w="71438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6" name="Freeform 6"/>
            <p:cNvSpPr>
              <a:spLocks/>
            </p:cNvSpPr>
            <p:nvPr userDrawn="1"/>
          </p:nvSpPr>
          <p:spPr bwMode="auto">
            <a:xfrm>
              <a:off x="2356" y="1555"/>
              <a:ext cx="1002" cy="0"/>
            </a:xfrm>
            <a:custGeom>
              <a:avLst/>
              <a:gdLst>
                <a:gd name="T0" fmla="*/ 0 w 1654"/>
                <a:gd name="T1" fmla="*/ 0 w 1654"/>
                <a:gd name="T2" fmla="*/ 1654 w 1654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654">
                  <a:moveTo>
                    <a:pt x="0" y="0"/>
                  </a:moveTo>
                  <a:lnTo>
                    <a:pt x="0" y="0"/>
                  </a:lnTo>
                  <a:lnTo>
                    <a:pt x="1654" y="0"/>
                  </a:lnTo>
                </a:path>
              </a:pathLst>
            </a:custGeom>
            <a:noFill/>
            <a:ln w="71438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</p:grpSp>
      <p:sp>
        <p:nvSpPr>
          <p:cNvPr id="8" name="Tijdelijke aanduiding voor tekst 7"/>
          <p:cNvSpPr>
            <a:spLocks noGrp="1"/>
          </p:cNvSpPr>
          <p:nvPr>
            <p:ph type="body" sz="quarter" idx="13"/>
          </p:nvPr>
        </p:nvSpPr>
        <p:spPr>
          <a:xfrm>
            <a:off x="5826557" y="2095653"/>
            <a:ext cx="2822142" cy="1913077"/>
          </a:xfrm>
        </p:spPr>
        <p:txBody>
          <a:bodyPr anchor="t" anchorCtr="0"/>
          <a:lstStyle>
            <a:lvl1pPr marL="171450" indent="-171450">
              <a:buFont typeface="Verdana" panose="020B0604030504040204" pitchFamily="34" charset="0"/>
              <a:buChar char="●"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0" name="Afbeelding 3">
            <a:extLst>
              <a:ext uri="{FF2B5EF4-FFF2-40B4-BE49-F238E27FC236}">
                <a16:creationId xmlns:a16="http://schemas.microsoft.com/office/drawing/2014/main" id="{C91C17E6-CF13-3444-ABAC-9BAC1003895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3335" y="4743578"/>
            <a:ext cx="634737" cy="24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51547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bla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oogle Shape;34;p30" descr="Google Shape;590;p108">
            <a:extLst>
              <a:ext uri="{FF2B5EF4-FFF2-40B4-BE49-F238E27FC236}">
                <a16:creationId xmlns:a16="http://schemas.microsoft.com/office/drawing/2014/main" id="{F77CFE65-B9E1-2C4B-B75F-2BA8323AD6C1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 t="12379" b="52729"/>
          <a:stretch/>
        </p:blipFill>
        <p:spPr>
          <a:xfrm>
            <a:off x="4214373" y="3513866"/>
            <a:ext cx="715253" cy="1629634"/>
          </a:xfrm>
          <a:prstGeom prst="rect">
            <a:avLst/>
          </a:prstGeom>
          <a:noFill/>
          <a:ln>
            <a:noFill/>
          </a:ln>
        </p:spPr>
      </p:pic>
      <p:sp>
        <p:nvSpPr>
          <p:cNvPr id="16" name="Google Shape;35;p30">
            <a:extLst>
              <a:ext uri="{FF2B5EF4-FFF2-40B4-BE49-F238E27FC236}">
                <a16:creationId xmlns:a16="http://schemas.microsoft.com/office/drawing/2014/main" id="{0AFF12DE-C535-244C-9133-7A8ACDA5FAAD}"/>
              </a:ext>
            </a:extLst>
          </p:cNvPr>
          <p:cNvSpPr/>
          <p:nvPr userDrawn="1"/>
        </p:nvSpPr>
        <p:spPr>
          <a:xfrm rot="10800000" flipH="1">
            <a:off x="4402979" y="3088803"/>
            <a:ext cx="338039" cy="338039"/>
          </a:xfrm>
          <a:prstGeom prst="ellipse">
            <a:avLst/>
          </a:prstGeom>
          <a:solidFill>
            <a:srgbClr val="FF860D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A503BA51-7E2D-9D4A-8B79-4B93C6AD667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4989" y="2340686"/>
            <a:ext cx="8120538" cy="528794"/>
          </a:xfrm>
        </p:spPr>
        <p:txBody>
          <a:bodyPr wrap="square" anchor="b" anchorCtr="0">
            <a:normAutofit/>
          </a:bodyPr>
          <a:lstStyle>
            <a:lvl1pPr algn="ctr"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23316161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grü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oogle Shape;34;p30" descr="Google Shape;590;p108">
            <a:extLst>
              <a:ext uri="{FF2B5EF4-FFF2-40B4-BE49-F238E27FC236}">
                <a16:creationId xmlns:a16="http://schemas.microsoft.com/office/drawing/2014/main" id="{DE78D77F-7CEA-7445-AB38-6B62949CD4DC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 t="12379" b="54234"/>
          <a:stretch/>
        </p:blipFill>
        <p:spPr>
          <a:xfrm rot="10800000">
            <a:off x="4214373" y="0"/>
            <a:ext cx="715253" cy="1559300"/>
          </a:xfrm>
          <a:prstGeom prst="rect">
            <a:avLst/>
          </a:prstGeom>
          <a:noFill/>
          <a:ln>
            <a:noFill/>
          </a:ln>
        </p:spPr>
      </p:pic>
      <p:sp>
        <p:nvSpPr>
          <p:cNvPr id="18" name="Google Shape;35;p30">
            <a:extLst>
              <a:ext uri="{FF2B5EF4-FFF2-40B4-BE49-F238E27FC236}">
                <a16:creationId xmlns:a16="http://schemas.microsoft.com/office/drawing/2014/main" id="{5778EE5D-964D-7F4C-BD03-847B71CD6185}"/>
              </a:ext>
            </a:extLst>
          </p:cNvPr>
          <p:cNvSpPr/>
          <p:nvPr userDrawn="1"/>
        </p:nvSpPr>
        <p:spPr>
          <a:xfrm flipH="1">
            <a:off x="4402980" y="1623293"/>
            <a:ext cx="338039" cy="338039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A826E10C-9F3B-EB43-9D06-8E62210F9A8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34988" y="2958454"/>
            <a:ext cx="8120538" cy="444500"/>
          </a:xfrm>
        </p:spPr>
        <p:txBody>
          <a:bodyPr anchor="t"/>
          <a:lstStyle>
            <a:lvl1pPr algn="ctr">
              <a:defRPr sz="1600">
                <a:solidFill>
                  <a:schemeClr val="tx1"/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9A948784-B118-7840-80F9-C1951D9A68D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4989" y="2340686"/>
            <a:ext cx="8120538" cy="528794"/>
          </a:xfrm>
        </p:spPr>
        <p:txBody>
          <a:bodyPr wrap="square" anchor="b" anchorCtr="0">
            <a:normAutofit/>
          </a:bodyPr>
          <a:lstStyle>
            <a:lvl1pPr algn="ctr"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0520999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rosa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oogle Shape;34;p30" descr="Google Shape;590;p108">
            <a:extLst>
              <a:ext uri="{FF2B5EF4-FFF2-40B4-BE49-F238E27FC236}">
                <a16:creationId xmlns:a16="http://schemas.microsoft.com/office/drawing/2014/main" id="{F77CFE65-B9E1-2C4B-B75F-2BA8323AD6C1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 t="12379" b="52729"/>
          <a:stretch/>
        </p:blipFill>
        <p:spPr>
          <a:xfrm>
            <a:off x="4214373" y="3513866"/>
            <a:ext cx="715253" cy="1629634"/>
          </a:xfrm>
          <a:prstGeom prst="rect">
            <a:avLst/>
          </a:prstGeom>
          <a:noFill/>
          <a:ln>
            <a:noFill/>
          </a:ln>
        </p:spPr>
      </p:pic>
      <p:sp>
        <p:nvSpPr>
          <p:cNvPr id="16" name="Google Shape;35;p30">
            <a:extLst>
              <a:ext uri="{FF2B5EF4-FFF2-40B4-BE49-F238E27FC236}">
                <a16:creationId xmlns:a16="http://schemas.microsoft.com/office/drawing/2014/main" id="{0AFF12DE-C535-244C-9133-7A8ACDA5FAAD}"/>
              </a:ext>
            </a:extLst>
          </p:cNvPr>
          <p:cNvSpPr/>
          <p:nvPr userDrawn="1"/>
        </p:nvSpPr>
        <p:spPr>
          <a:xfrm rot="10800000" flipH="1">
            <a:off x="4402979" y="3088803"/>
            <a:ext cx="338039" cy="338039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F1105428-8BEA-5F40-A5C9-737E3121F79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4989" y="2340686"/>
            <a:ext cx="8120538" cy="528794"/>
          </a:xfrm>
        </p:spPr>
        <p:txBody>
          <a:bodyPr wrap="square" anchor="b" anchorCtr="0">
            <a:normAutofit/>
          </a:bodyPr>
          <a:lstStyle>
            <a:lvl1pPr algn="ctr"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6720533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| Bild recht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jdelijke aanduiding voor afbeelding 3"/>
          <p:cNvSpPr>
            <a:spLocks noGrp="1" noChangeAspect="1"/>
          </p:cNvSpPr>
          <p:nvPr>
            <p:ph type="pic" sz="quarter" idx="13"/>
          </p:nvPr>
        </p:nvSpPr>
        <p:spPr>
          <a:xfrm>
            <a:off x="4573588" y="0"/>
            <a:ext cx="4570412" cy="5143500"/>
          </a:xfrm>
          <a:solidFill>
            <a:schemeClr val="bg1">
              <a:lumMod val="85000"/>
            </a:schemeClr>
          </a:solidFill>
        </p:spPr>
        <p:txBody>
          <a:bodyPr lIns="144000" tIns="108000"/>
          <a:lstStyle/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34989" y="1738495"/>
            <a:ext cx="3470083" cy="1101725"/>
          </a:xfrm>
        </p:spPr>
        <p:txBody>
          <a:bodyPr anchor="b" anchorCtr="0">
            <a:normAutofit/>
          </a:bodyPr>
          <a:lstStyle>
            <a:lvl1pPr algn="ctr"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NL" dirty="0"/>
          </a:p>
        </p:txBody>
      </p:sp>
      <p:pic>
        <p:nvPicPr>
          <p:cNvPr id="15" name="Google Shape;34;p30" descr="Google Shape;590;p108">
            <a:extLst>
              <a:ext uri="{FF2B5EF4-FFF2-40B4-BE49-F238E27FC236}">
                <a16:creationId xmlns:a16="http://schemas.microsoft.com/office/drawing/2014/main" id="{F77CFE65-B9E1-2C4B-B75F-2BA8323AD6C1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 t="12379" b="52729"/>
          <a:stretch/>
        </p:blipFill>
        <p:spPr>
          <a:xfrm>
            <a:off x="1851563" y="3513866"/>
            <a:ext cx="715253" cy="1629634"/>
          </a:xfrm>
          <a:prstGeom prst="rect">
            <a:avLst/>
          </a:prstGeom>
          <a:noFill/>
          <a:ln>
            <a:noFill/>
          </a:ln>
        </p:spPr>
      </p:pic>
      <p:sp>
        <p:nvSpPr>
          <p:cNvPr id="16" name="Google Shape;35;p30">
            <a:extLst>
              <a:ext uri="{FF2B5EF4-FFF2-40B4-BE49-F238E27FC236}">
                <a16:creationId xmlns:a16="http://schemas.microsoft.com/office/drawing/2014/main" id="{0AFF12DE-C535-244C-9133-7A8ACDA5FAAD}"/>
              </a:ext>
            </a:extLst>
          </p:cNvPr>
          <p:cNvSpPr/>
          <p:nvPr userDrawn="1"/>
        </p:nvSpPr>
        <p:spPr>
          <a:xfrm rot="10800000" flipH="1">
            <a:off x="2040169" y="3088803"/>
            <a:ext cx="338039" cy="338039"/>
          </a:xfrm>
          <a:prstGeom prst="ellipse">
            <a:avLst/>
          </a:prstGeom>
          <a:solidFill>
            <a:srgbClr val="FF860D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3362840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| Bild mit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31C88D2-0DFE-C641-842F-6B9C52B24F35}"/>
              </a:ext>
            </a:extLst>
          </p:cNvPr>
          <p:cNvSpPr/>
          <p:nvPr userDrawn="1"/>
        </p:nvSpPr>
        <p:spPr>
          <a:xfrm>
            <a:off x="0" y="0"/>
            <a:ext cx="2919876" cy="51435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solidFill>
                <a:srgbClr val="FFFFFF"/>
              </a:solidFill>
            </a:endParaRP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984BCE0-0F7B-0D41-8484-DB4DE895916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923535" y="0"/>
            <a:ext cx="3850340" cy="5143500"/>
          </a:xfrm>
          <a:solidFill>
            <a:schemeClr val="tx1">
              <a:lumMod val="10000"/>
              <a:lumOff val="90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x-none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4FE3013-98EF-7545-B37F-27088F2408EF}"/>
              </a:ext>
            </a:extLst>
          </p:cNvPr>
          <p:cNvSpPr/>
          <p:nvPr userDrawn="1"/>
        </p:nvSpPr>
        <p:spPr>
          <a:xfrm>
            <a:off x="6759316" y="0"/>
            <a:ext cx="2383638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solidFill>
                <a:srgbClr val="FFFFFF"/>
              </a:solidFill>
            </a:endParaRP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CD3CB9A4-DCAE-EF4D-91FC-867C64FFEF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4852" y="1250744"/>
            <a:ext cx="2165130" cy="1597438"/>
          </a:xfrm>
          <a:noFill/>
        </p:spPr>
        <p:txBody>
          <a:bodyPr anchor="b" anchorCtr="0">
            <a:noAutofit/>
          </a:bodyPr>
          <a:lstStyle>
            <a:lvl1pPr marL="0" indent="0" algn="l">
              <a:spcBef>
                <a:spcPts val="0"/>
              </a:spcBef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5A494B03-D101-114B-9B88-D9676662D34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54852" y="2890459"/>
            <a:ext cx="2165131" cy="523221"/>
          </a:xfrm>
        </p:spPr>
        <p:txBody>
          <a:bodyPr anchor="ctr">
            <a:normAutofit/>
          </a:bodyPr>
          <a:lstStyle>
            <a:lvl1pPr marL="0" indent="0" algn="l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6E4C004F-4689-6645-B4F7-EE1D3822749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59895" y="3267610"/>
            <a:ext cx="1821545" cy="523221"/>
          </a:xfrm>
        </p:spPr>
        <p:txBody>
          <a:bodyPr anchor="ctr">
            <a:normAutofit/>
          </a:bodyPr>
          <a:lstStyle>
            <a:lvl1pPr marL="0" indent="0" algn="l"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Freeform 5"/>
          <p:cNvSpPr>
            <a:spLocks/>
          </p:cNvSpPr>
          <p:nvPr userDrawn="1"/>
        </p:nvSpPr>
        <p:spPr bwMode="auto">
          <a:xfrm>
            <a:off x="7275513" y="2940050"/>
            <a:ext cx="244475" cy="246063"/>
          </a:xfrm>
          <a:custGeom>
            <a:avLst/>
            <a:gdLst>
              <a:gd name="T0" fmla="*/ 352 w 352"/>
              <a:gd name="T1" fmla="*/ 176 h 353"/>
              <a:gd name="T2" fmla="*/ 352 w 352"/>
              <a:gd name="T3" fmla="*/ 176 h 353"/>
              <a:gd name="T4" fmla="*/ 176 w 352"/>
              <a:gd name="T5" fmla="*/ 353 h 353"/>
              <a:gd name="T6" fmla="*/ 0 w 352"/>
              <a:gd name="T7" fmla="*/ 176 h 353"/>
              <a:gd name="T8" fmla="*/ 176 w 352"/>
              <a:gd name="T9" fmla="*/ 0 h 353"/>
              <a:gd name="T10" fmla="*/ 352 w 352"/>
              <a:gd name="T11" fmla="*/ 176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52" h="353">
                <a:moveTo>
                  <a:pt x="352" y="176"/>
                </a:moveTo>
                <a:lnTo>
                  <a:pt x="352" y="176"/>
                </a:lnTo>
                <a:cubicBezTo>
                  <a:pt x="352" y="274"/>
                  <a:pt x="273" y="353"/>
                  <a:pt x="176" y="353"/>
                </a:cubicBezTo>
                <a:cubicBezTo>
                  <a:pt x="78" y="353"/>
                  <a:pt x="0" y="274"/>
                  <a:pt x="0" y="176"/>
                </a:cubicBezTo>
                <a:cubicBezTo>
                  <a:pt x="0" y="79"/>
                  <a:pt x="78" y="0"/>
                  <a:pt x="176" y="0"/>
                </a:cubicBezTo>
                <a:cubicBezTo>
                  <a:pt x="273" y="0"/>
                  <a:pt x="352" y="79"/>
                  <a:pt x="352" y="176"/>
                </a:cubicBezTo>
                <a:close/>
              </a:path>
            </a:pathLst>
          </a:custGeom>
          <a:solidFill>
            <a:srgbClr val="00C2F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sp>
        <p:nvSpPr>
          <p:cNvPr id="8" name="Freeform 6"/>
          <p:cNvSpPr>
            <a:spLocks/>
          </p:cNvSpPr>
          <p:nvPr userDrawn="1"/>
        </p:nvSpPr>
        <p:spPr bwMode="auto">
          <a:xfrm>
            <a:off x="522288" y="3530600"/>
            <a:ext cx="244475" cy="244475"/>
          </a:xfrm>
          <a:custGeom>
            <a:avLst/>
            <a:gdLst>
              <a:gd name="T0" fmla="*/ 352 w 352"/>
              <a:gd name="T1" fmla="*/ 176 h 352"/>
              <a:gd name="T2" fmla="*/ 352 w 352"/>
              <a:gd name="T3" fmla="*/ 176 h 352"/>
              <a:gd name="T4" fmla="*/ 176 w 352"/>
              <a:gd name="T5" fmla="*/ 352 h 352"/>
              <a:gd name="T6" fmla="*/ 0 w 352"/>
              <a:gd name="T7" fmla="*/ 176 h 352"/>
              <a:gd name="T8" fmla="*/ 176 w 352"/>
              <a:gd name="T9" fmla="*/ 0 h 352"/>
              <a:gd name="T10" fmla="*/ 352 w 352"/>
              <a:gd name="T11" fmla="*/ 176 h 3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52" h="352">
                <a:moveTo>
                  <a:pt x="352" y="176"/>
                </a:moveTo>
                <a:lnTo>
                  <a:pt x="352" y="176"/>
                </a:lnTo>
                <a:cubicBezTo>
                  <a:pt x="352" y="274"/>
                  <a:pt x="273" y="352"/>
                  <a:pt x="176" y="352"/>
                </a:cubicBezTo>
                <a:cubicBezTo>
                  <a:pt x="78" y="352"/>
                  <a:pt x="0" y="274"/>
                  <a:pt x="0" y="176"/>
                </a:cubicBezTo>
                <a:cubicBezTo>
                  <a:pt x="0" y="79"/>
                  <a:pt x="78" y="0"/>
                  <a:pt x="176" y="0"/>
                </a:cubicBezTo>
                <a:cubicBezTo>
                  <a:pt x="273" y="0"/>
                  <a:pt x="352" y="79"/>
                  <a:pt x="352" y="176"/>
                </a:cubicBezTo>
                <a:close/>
              </a:path>
            </a:pathLst>
          </a:custGeom>
          <a:solidFill>
            <a:srgbClr val="FF820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sp>
        <p:nvSpPr>
          <p:cNvPr id="9" name="Freeform 7"/>
          <p:cNvSpPr>
            <a:spLocks/>
          </p:cNvSpPr>
          <p:nvPr userDrawn="1"/>
        </p:nvSpPr>
        <p:spPr bwMode="auto">
          <a:xfrm>
            <a:off x="6991350" y="2894013"/>
            <a:ext cx="158750" cy="319088"/>
          </a:xfrm>
          <a:custGeom>
            <a:avLst/>
            <a:gdLst>
              <a:gd name="T0" fmla="*/ 0 w 230"/>
              <a:gd name="T1" fmla="*/ 0 h 459"/>
              <a:gd name="T2" fmla="*/ 0 w 230"/>
              <a:gd name="T3" fmla="*/ 0 h 459"/>
              <a:gd name="T4" fmla="*/ 230 w 230"/>
              <a:gd name="T5" fmla="*/ 229 h 459"/>
              <a:gd name="T6" fmla="*/ 0 w 230"/>
              <a:gd name="T7" fmla="*/ 459 h 4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30" h="459">
                <a:moveTo>
                  <a:pt x="0" y="0"/>
                </a:moveTo>
                <a:lnTo>
                  <a:pt x="0" y="0"/>
                </a:lnTo>
                <a:lnTo>
                  <a:pt x="230" y="229"/>
                </a:lnTo>
                <a:lnTo>
                  <a:pt x="0" y="459"/>
                </a:lnTo>
              </a:path>
            </a:pathLst>
          </a:custGeom>
          <a:noFill/>
          <a:ln w="71438" cap="flat">
            <a:solidFill>
              <a:srgbClr val="FFFFF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sp>
        <p:nvSpPr>
          <p:cNvPr id="10" name="Freeform 8"/>
          <p:cNvSpPr>
            <a:spLocks/>
          </p:cNvSpPr>
          <p:nvPr userDrawn="1"/>
        </p:nvSpPr>
        <p:spPr bwMode="auto">
          <a:xfrm>
            <a:off x="6742113" y="3054350"/>
            <a:ext cx="392112" cy="0"/>
          </a:xfrm>
          <a:custGeom>
            <a:avLst/>
            <a:gdLst>
              <a:gd name="T0" fmla="*/ 566 w 566"/>
              <a:gd name="T1" fmla="*/ 566 w 566"/>
              <a:gd name="T2" fmla="*/ 0 w 56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566">
                <a:moveTo>
                  <a:pt x="566" y="0"/>
                </a:moveTo>
                <a:lnTo>
                  <a:pt x="566" y="0"/>
                </a:lnTo>
                <a:lnTo>
                  <a:pt x="0" y="0"/>
                </a:lnTo>
              </a:path>
            </a:pathLst>
          </a:custGeom>
          <a:noFill/>
          <a:ln w="71438" cap="flat">
            <a:solidFill>
              <a:srgbClr val="FFFFF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sp>
        <p:nvSpPr>
          <p:cNvPr id="11" name="Freeform 9"/>
          <p:cNvSpPr>
            <a:spLocks/>
          </p:cNvSpPr>
          <p:nvPr userDrawn="1"/>
        </p:nvSpPr>
        <p:spPr bwMode="auto">
          <a:xfrm>
            <a:off x="6316663" y="3054350"/>
            <a:ext cx="439737" cy="762000"/>
          </a:xfrm>
          <a:custGeom>
            <a:avLst/>
            <a:gdLst>
              <a:gd name="T0" fmla="*/ 633 w 633"/>
              <a:gd name="T1" fmla="*/ 1 h 1096"/>
              <a:gd name="T2" fmla="*/ 633 w 633"/>
              <a:gd name="T3" fmla="*/ 1 h 1096"/>
              <a:gd name="T4" fmla="*/ 613 w 633"/>
              <a:gd name="T5" fmla="*/ 1 h 1096"/>
              <a:gd name="T6" fmla="*/ 549 w 633"/>
              <a:gd name="T7" fmla="*/ 0 h 1096"/>
              <a:gd name="T8" fmla="*/ 0 w 633"/>
              <a:gd name="T9" fmla="*/ 549 h 1096"/>
              <a:gd name="T10" fmla="*/ 0 w 633"/>
              <a:gd name="T11" fmla="*/ 1096 h 10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33" h="1096">
                <a:moveTo>
                  <a:pt x="633" y="1"/>
                </a:moveTo>
                <a:lnTo>
                  <a:pt x="633" y="1"/>
                </a:lnTo>
                <a:lnTo>
                  <a:pt x="613" y="1"/>
                </a:lnTo>
                <a:lnTo>
                  <a:pt x="549" y="0"/>
                </a:lnTo>
                <a:cubicBezTo>
                  <a:pt x="246" y="0"/>
                  <a:pt x="0" y="246"/>
                  <a:pt x="0" y="549"/>
                </a:cubicBezTo>
                <a:lnTo>
                  <a:pt x="0" y="1096"/>
                </a:lnTo>
              </a:path>
            </a:pathLst>
          </a:custGeom>
          <a:noFill/>
          <a:ln w="71438" cap="flat">
            <a:solidFill>
              <a:srgbClr val="FFFFF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sp>
        <p:nvSpPr>
          <p:cNvPr id="16" name="Freeform 10"/>
          <p:cNvSpPr>
            <a:spLocks/>
          </p:cNvSpPr>
          <p:nvPr userDrawn="1"/>
        </p:nvSpPr>
        <p:spPr bwMode="auto">
          <a:xfrm>
            <a:off x="2892425" y="3816350"/>
            <a:ext cx="3424237" cy="503238"/>
          </a:xfrm>
          <a:custGeom>
            <a:avLst/>
            <a:gdLst>
              <a:gd name="T0" fmla="*/ 4940 w 4940"/>
              <a:gd name="T1" fmla="*/ 0 h 722"/>
              <a:gd name="T2" fmla="*/ 4940 w 4940"/>
              <a:gd name="T3" fmla="*/ 0 h 722"/>
              <a:gd name="T4" fmla="*/ 4218 w 4940"/>
              <a:gd name="T5" fmla="*/ 722 h 722"/>
              <a:gd name="T6" fmla="*/ 0 w 4940"/>
              <a:gd name="T7" fmla="*/ 722 h 7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940" h="722">
                <a:moveTo>
                  <a:pt x="4940" y="0"/>
                </a:moveTo>
                <a:lnTo>
                  <a:pt x="4940" y="0"/>
                </a:lnTo>
                <a:cubicBezTo>
                  <a:pt x="4940" y="399"/>
                  <a:pt x="4617" y="722"/>
                  <a:pt x="4218" y="722"/>
                </a:cubicBezTo>
                <a:lnTo>
                  <a:pt x="0" y="722"/>
                </a:lnTo>
              </a:path>
            </a:pathLst>
          </a:custGeom>
          <a:noFill/>
          <a:ln w="71438" cap="flat">
            <a:solidFill>
              <a:srgbClr val="FFFFF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sp>
        <p:nvSpPr>
          <p:cNvPr id="17" name="Freeform 11"/>
          <p:cNvSpPr>
            <a:spLocks/>
          </p:cNvSpPr>
          <p:nvPr userDrawn="1"/>
        </p:nvSpPr>
        <p:spPr bwMode="auto">
          <a:xfrm>
            <a:off x="2727325" y="3986213"/>
            <a:ext cx="457200" cy="333375"/>
          </a:xfrm>
          <a:custGeom>
            <a:avLst/>
            <a:gdLst>
              <a:gd name="T0" fmla="*/ 239 w 660"/>
              <a:gd name="T1" fmla="*/ 478 h 478"/>
              <a:gd name="T2" fmla="*/ 239 w 660"/>
              <a:gd name="T3" fmla="*/ 478 h 478"/>
              <a:gd name="T4" fmla="*/ 0 w 660"/>
              <a:gd name="T5" fmla="*/ 239 h 478"/>
              <a:gd name="T6" fmla="*/ 239 w 660"/>
              <a:gd name="T7" fmla="*/ 0 h 478"/>
              <a:gd name="T8" fmla="*/ 660 w 660"/>
              <a:gd name="T9" fmla="*/ 0 h 4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60" h="478">
                <a:moveTo>
                  <a:pt x="239" y="478"/>
                </a:moveTo>
                <a:lnTo>
                  <a:pt x="239" y="478"/>
                </a:lnTo>
                <a:cubicBezTo>
                  <a:pt x="107" y="478"/>
                  <a:pt x="0" y="371"/>
                  <a:pt x="0" y="239"/>
                </a:cubicBezTo>
                <a:cubicBezTo>
                  <a:pt x="0" y="107"/>
                  <a:pt x="107" y="0"/>
                  <a:pt x="239" y="0"/>
                </a:cubicBezTo>
                <a:lnTo>
                  <a:pt x="660" y="0"/>
                </a:lnTo>
              </a:path>
            </a:pathLst>
          </a:custGeom>
          <a:noFill/>
          <a:ln w="71438" cap="flat">
            <a:solidFill>
              <a:srgbClr val="FFFFF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sp>
        <p:nvSpPr>
          <p:cNvPr id="19" name="Freeform 12"/>
          <p:cNvSpPr>
            <a:spLocks/>
          </p:cNvSpPr>
          <p:nvPr userDrawn="1"/>
        </p:nvSpPr>
        <p:spPr bwMode="auto">
          <a:xfrm>
            <a:off x="831850" y="3652838"/>
            <a:ext cx="2517775" cy="333375"/>
          </a:xfrm>
          <a:custGeom>
            <a:avLst/>
            <a:gdLst>
              <a:gd name="T0" fmla="*/ 3394 w 3633"/>
              <a:gd name="T1" fmla="*/ 479 h 479"/>
              <a:gd name="T2" fmla="*/ 3394 w 3633"/>
              <a:gd name="T3" fmla="*/ 479 h 479"/>
              <a:gd name="T4" fmla="*/ 3633 w 3633"/>
              <a:gd name="T5" fmla="*/ 239 h 479"/>
              <a:gd name="T6" fmla="*/ 3394 w 3633"/>
              <a:gd name="T7" fmla="*/ 0 h 479"/>
              <a:gd name="T8" fmla="*/ 0 w 3633"/>
              <a:gd name="T9" fmla="*/ 0 h 4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633" h="479">
                <a:moveTo>
                  <a:pt x="3394" y="479"/>
                </a:moveTo>
                <a:lnTo>
                  <a:pt x="3394" y="479"/>
                </a:lnTo>
                <a:cubicBezTo>
                  <a:pt x="3526" y="479"/>
                  <a:pt x="3633" y="372"/>
                  <a:pt x="3633" y="239"/>
                </a:cubicBezTo>
                <a:cubicBezTo>
                  <a:pt x="3633" y="107"/>
                  <a:pt x="3526" y="0"/>
                  <a:pt x="3394" y="0"/>
                </a:cubicBezTo>
                <a:lnTo>
                  <a:pt x="0" y="0"/>
                </a:lnTo>
              </a:path>
            </a:pathLst>
          </a:custGeom>
          <a:noFill/>
          <a:ln w="71438" cap="flat">
            <a:solidFill>
              <a:srgbClr val="FFFFF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pic>
        <p:nvPicPr>
          <p:cNvPr id="20" name="Afbeelding 3">
            <a:extLst>
              <a:ext uri="{FF2B5EF4-FFF2-40B4-BE49-F238E27FC236}">
                <a16:creationId xmlns:a16="http://schemas.microsoft.com/office/drawing/2014/main" id="{064E1D85-D657-B746-8AB4-E7A14648C45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3335" y="4743578"/>
            <a:ext cx="634737" cy="24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52517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image" Target="../media/image2.png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3F8B0F4-4A7F-474D-B4C3-58C9255309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2119849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3" imgW="306" imgH="306" progId="TCLayout.ActiveDocument.1">
                  <p:embed/>
                </p:oleObj>
              </mc:Choice>
              <mc:Fallback>
                <p:oleObj name="think-cell Folie" r:id="rId3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3F8B0F4-4A7F-474D-B4C3-58C9255309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457200" y="1768475"/>
            <a:ext cx="8191500" cy="2774950"/>
          </a:xfrm>
          <a:prstGeom prst="rect">
            <a:avLst/>
          </a:prstGeom>
        </p:spPr>
        <p:txBody>
          <a:bodyPr vert="horz" lIns="61200" tIns="36000" rIns="36000" bIns="36000" rtlCol="0">
            <a:noAutofit/>
          </a:bodyPr>
          <a:lstStyle/>
          <a:p>
            <a:r>
              <a:rPr lang="en-US" dirty="0" err="1"/>
              <a:t>Erste</a:t>
            </a:r>
            <a:r>
              <a:rPr lang="en-US" dirty="0"/>
              <a:t> </a:t>
            </a:r>
            <a:r>
              <a:rPr lang="en-US" dirty="0" err="1"/>
              <a:t>Textebene</a:t>
            </a:r>
            <a:endParaRPr lang="en-US" dirty="0"/>
          </a:p>
          <a:p>
            <a:pPr lvl="1"/>
            <a:r>
              <a:rPr lang="en-US" dirty="0"/>
              <a:t>1</a:t>
            </a:r>
          </a:p>
          <a:p>
            <a:pPr lvl="2"/>
            <a:r>
              <a:rPr lang="en-US" dirty="0"/>
              <a:t>2</a:t>
            </a:r>
          </a:p>
          <a:p>
            <a:pPr lvl="3"/>
            <a:r>
              <a:rPr lang="en-US" dirty="0"/>
              <a:t>3</a:t>
            </a:r>
          </a:p>
          <a:p>
            <a:pPr lvl="4"/>
            <a:r>
              <a:rPr lang="en-US" dirty="0"/>
              <a:t>4</a:t>
            </a:r>
          </a:p>
        </p:txBody>
      </p:sp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470410" y="165671"/>
            <a:ext cx="8178290" cy="540000"/>
          </a:xfrm>
          <a:prstGeom prst="rect">
            <a:avLst/>
          </a:prstGeom>
        </p:spPr>
        <p:txBody>
          <a:bodyPr vert="horz" lIns="36000" tIns="0" rIns="36000" bIns="36000" rtlCol="0" anchor="t" anchorCtr="0">
            <a:noAutofit/>
          </a:bodyPr>
          <a:lstStyle/>
          <a:p>
            <a:endParaRPr lang="nl-NL" dirty="0"/>
          </a:p>
        </p:txBody>
      </p:sp>
      <p:sp>
        <p:nvSpPr>
          <p:cNvPr id="16" name="Rectangle 11">
            <a:extLst>
              <a:ext uri="{FF2B5EF4-FFF2-40B4-BE49-F238E27FC236}">
                <a16:creationId xmlns:a16="http://schemas.microsoft.com/office/drawing/2014/main" id="{D0C0B165-3B15-D842-BDA3-8C91EFC1E4A4}"/>
              </a:ext>
            </a:extLst>
          </p:cNvPr>
          <p:cNvSpPr/>
          <p:nvPr userDrawn="1"/>
        </p:nvSpPr>
        <p:spPr>
          <a:xfrm>
            <a:off x="0" y="4614530"/>
            <a:ext cx="9144000" cy="5289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000" dirty="0" err="1"/>
          </a:p>
        </p:txBody>
      </p:sp>
      <p:sp>
        <p:nvSpPr>
          <p:cNvPr id="18" name="Rectangle 25">
            <a:extLst>
              <a:ext uri="{FF2B5EF4-FFF2-40B4-BE49-F238E27FC236}">
                <a16:creationId xmlns:a16="http://schemas.microsoft.com/office/drawing/2014/main" id="{21D1207C-4351-CE43-8868-0E10F6067E2C}"/>
              </a:ext>
            </a:extLst>
          </p:cNvPr>
          <p:cNvSpPr/>
          <p:nvPr userDrawn="1"/>
        </p:nvSpPr>
        <p:spPr>
          <a:xfrm>
            <a:off x="5967948" y="4762596"/>
            <a:ext cx="2801515" cy="2197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de-DE" sz="600" dirty="0" err="1">
                <a:solidFill>
                  <a:schemeClr val="tx1"/>
                </a:solidFill>
              </a:rPr>
              <a:t>Strictly</a:t>
            </a:r>
            <a:r>
              <a:rPr lang="de-DE" sz="600" dirty="0">
                <a:solidFill>
                  <a:schemeClr val="tx1"/>
                </a:solidFill>
              </a:rPr>
              <a:t> </a:t>
            </a:r>
            <a:r>
              <a:rPr lang="de-DE" sz="600" dirty="0" err="1">
                <a:solidFill>
                  <a:schemeClr val="tx1"/>
                </a:solidFill>
              </a:rPr>
              <a:t>confidential</a:t>
            </a:r>
            <a:endParaRPr lang="en-US" sz="600" dirty="0">
              <a:solidFill>
                <a:schemeClr val="tx1"/>
              </a:solidFill>
            </a:endParaRPr>
          </a:p>
        </p:txBody>
      </p:sp>
      <p:sp>
        <p:nvSpPr>
          <p:cNvPr id="19" name="Rectangle 4">
            <a:extLst>
              <a:ext uri="{FF2B5EF4-FFF2-40B4-BE49-F238E27FC236}">
                <a16:creationId xmlns:a16="http://schemas.microsoft.com/office/drawing/2014/main" id="{8A7AF92A-AB87-C045-8B58-0C0F270E11FE}"/>
              </a:ext>
            </a:extLst>
          </p:cNvPr>
          <p:cNvSpPr/>
          <p:nvPr userDrawn="1"/>
        </p:nvSpPr>
        <p:spPr>
          <a:xfrm>
            <a:off x="738310" y="4762596"/>
            <a:ext cx="4392563" cy="2197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en-US" sz="600" dirty="0">
                <a:solidFill>
                  <a:schemeClr val="tx1"/>
                </a:solidFill>
              </a:rPr>
              <a:t>Compensation certificate access guideline| August 2022 </a:t>
            </a:r>
          </a:p>
        </p:txBody>
      </p:sp>
      <p:sp>
        <p:nvSpPr>
          <p:cNvPr id="20" name="Rectangle 4">
            <a:extLst>
              <a:ext uri="{FF2B5EF4-FFF2-40B4-BE49-F238E27FC236}">
                <a16:creationId xmlns:a16="http://schemas.microsoft.com/office/drawing/2014/main" id="{BE0F4D4D-638A-B84A-BFF5-BC2687240750}"/>
              </a:ext>
            </a:extLst>
          </p:cNvPr>
          <p:cNvSpPr/>
          <p:nvPr userDrawn="1"/>
        </p:nvSpPr>
        <p:spPr>
          <a:xfrm>
            <a:off x="457200" y="4762596"/>
            <a:ext cx="374537" cy="2197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fld id="{1858DF1F-64F1-4F3B-8F64-1BAC06C2A1B3}" type="slidenum">
              <a:rPr lang="nl-NL" sz="600" smtClean="0">
                <a:solidFill>
                  <a:schemeClr val="tx1"/>
                </a:solidFill>
              </a:rPr>
              <a:pPr/>
              <a:t>‹Nr.›</a:t>
            </a:fld>
            <a:r>
              <a:rPr lang="nl-NL" sz="600" dirty="0">
                <a:solidFill>
                  <a:schemeClr val="tx1"/>
                </a:solidFill>
              </a:rPr>
              <a:t> </a:t>
            </a:r>
            <a:r>
              <a:rPr lang="en-US" sz="600" dirty="0">
                <a:solidFill>
                  <a:schemeClr val="tx1"/>
                </a:solidFill>
              </a:rPr>
              <a:t>|</a:t>
            </a:r>
            <a:endParaRPr lang="nl-NL" sz="600" dirty="0">
              <a:solidFill>
                <a:schemeClr val="tx1"/>
              </a:solidFill>
            </a:endParaRPr>
          </a:p>
        </p:txBody>
      </p:sp>
      <p:pic>
        <p:nvPicPr>
          <p:cNvPr id="22" name="Afbeelding 25">
            <a:extLst>
              <a:ext uri="{FF2B5EF4-FFF2-40B4-BE49-F238E27FC236}">
                <a16:creationId xmlns:a16="http://schemas.microsoft.com/office/drawing/2014/main" id="{8226492D-9A98-C640-AB0C-8C88E6FCA37F}"/>
              </a:ext>
            </a:extLst>
          </p:cNvPr>
          <p:cNvPicPr>
            <a:picLocks noChangeAspect="1"/>
          </p:cNvPicPr>
          <p:nvPr userDrawn="1"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3335" y="4743578"/>
            <a:ext cx="634736" cy="24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48840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77" r:id="rId2"/>
    <p:sldLayoutId id="2147483778" r:id="rId3"/>
    <p:sldLayoutId id="2147483829" r:id="rId4"/>
    <p:sldLayoutId id="2147483783" r:id="rId5"/>
    <p:sldLayoutId id="2147483784" r:id="rId6"/>
    <p:sldLayoutId id="2147483785" r:id="rId7"/>
    <p:sldLayoutId id="2147483831" r:id="rId8"/>
    <p:sldLayoutId id="2147483855" r:id="rId9"/>
    <p:sldLayoutId id="2147483786" r:id="rId10"/>
    <p:sldLayoutId id="2147483766" r:id="rId11"/>
    <p:sldLayoutId id="2147483858" r:id="rId12"/>
    <p:sldLayoutId id="2147483842" r:id="rId13"/>
    <p:sldLayoutId id="2147483835" r:id="rId14"/>
    <p:sldLayoutId id="2147483841" r:id="rId15"/>
    <p:sldLayoutId id="2147483865" r:id="rId16"/>
    <p:sldLayoutId id="2147483866" r:id="rId17"/>
    <p:sldLayoutId id="2147483867" r:id="rId18"/>
    <p:sldLayoutId id="2147483848" r:id="rId19"/>
    <p:sldLayoutId id="2147483849" r:id="rId20"/>
    <p:sldLayoutId id="2147483851" r:id="rId21"/>
    <p:sldLayoutId id="2147483860" r:id="rId22"/>
    <p:sldLayoutId id="2147483861" r:id="rId23"/>
    <p:sldLayoutId id="2147483833" r:id="rId24"/>
    <p:sldLayoutId id="2147483780" r:id="rId25"/>
    <p:sldLayoutId id="2147483781" r:id="rId26"/>
    <p:sldLayoutId id="2147483830" r:id="rId27"/>
    <p:sldLayoutId id="2147483859" r:id="rId28"/>
    <p:sldLayoutId id="2147483779" r:id="rId29"/>
    <p:sldLayoutId id="2147483787" r:id="rId30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Font typeface="Arial" panose="020B0604020202020204" pitchFamily="34" charset="0"/>
        <a:buNone/>
        <a:defRPr sz="1000" kern="1200">
          <a:solidFill>
            <a:schemeClr val="tx1"/>
          </a:solidFill>
          <a:latin typeface="+mn-lt"/>
          <a:ea typeface="+mn-ea"/>
          <a:cs typeface="+mn-cs"/>
        </a:defRPr>
      </a:lvl1pPr>
      <a:lvl2pPr marL="270000" indent="-144000" algn="l" defTabSz="914400" rtl="0" eaLnBrk="1" latinLnBrk="0" hangingPunct="1">
        <a:spcBef>
          <a:spcPts val="600"/>
        </a:spcBef>
        <a:buClr>
          <a:schemeClr val="tx2"/>
        </a:buClr>
        <a:buSzPct val="120000"/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44000" algn="l" defTabSz="914400" rtl="0" eaLnBrk="1" latinLnBrk="0" hangingPunct="1">
        <a:spcBef>
          <a:spcPts val="600"/>
        </a:spcBef>
        <a:buClr>
          <a:schemeClr val="tx2"/>
        </a:buClr>
        <a:buFont typeface="Verdana" panose="020B0604030504040204" pitchFamily="34" charset="0"/>
        <a:buChar char="‒"/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810000" indent="-144000" algn="l" defTabSz="914400" rtl="0" eaLnBrk="1" latinLnBrk="0" hangingPunct="1">
        <a:spcBef>
          <a:spcPts val="600"/>
        </a:spcBef>
        <a:buClr>
          <a:schemeClr val="tx2"/>
        </a:buClr>
        <a:buSzPct val="80000"/>
        <a:buFont typeface="Courier New" panose="02070309020205020404" pitchFamily="49" charset="0"/>
        <a:buChar char="o"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1080000" indent="-144000" algn="l" defTabSz="914400" rtl="0" eaLnBrk="1" latinLnBrk="0" hangingPunct="1">
        <a:spcBef>
          <a:spcPts val="600"/>
        </a:spcBef>
        <a:buClr>
          <a:schemeClr val="tx2"/>
        </a:buClr>
        <a:buSzPct val="70000"/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60" userDrawn="1">
          <p15:clr>
            <a:srgbClr val="F26B43"/>
          </p15:clr>
        </p15:guide>
        <p15:guide id="2" pos="45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.xml"/><Relationship Id="rId6" Type="http://schemas.openxmlformats.org/officeDocument/2006/relationships/image" Target="../media/image8.png"/><Relationship Id="rId5" Type="http://schemas.openxmlformats.org/officeDocument/2006/relationships/image" Target="../media/image7.jpg"/><Relationship Id="rId4" Type="http://schemas.openxmlformats.org/officeDocument/2006/relationships/image" Target="../media/image6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5.xml"/><Relationship Id="rId6" Type="http://schemas.openxmlformats.org/officeDocument/2006/relationships/image" Target="../media/image9.png"/><Relationship Id="rId5" Type="http://schemas.openxmlformats.org/officeDocument/2006/relationships/hyperlink" Target="https://auth.dc.gls-group.eu/auth/realms/gls/protocol/openid-connect/auth?client_id=customer-portal-spa&amp;redirect_uri=https%3A%2F%2Fkundenportal.gls-group.eu&amp;response_type=code&amp;scope=openid%20profile%20email&amp;nonce=6526f813401844d7e931838338f0edee8d5sdzllw&amp;state=a7279ff7bbf6c651916d1efae683be4087lb4bJm0&amp;code_challenge=R-I50OsiotUfvdUhx0qkU9KzXTQ9EMk6SJhfVq1vWKA&amp;code_challenge_method=S256" TargetMode="External"/><Relationship Id="rId4" Type="http://schemas.openxmlformats.org/officeDocument/2006/relationships/image" Target="../media/image6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13.png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6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6.emf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oleObject" Target="../embeddings/oleObject6.bin"/><Relationship Id="rId7" Type="http://schemas.openxmlformats.org/officeDocument/2006/relationships/image" Target="../media/image16.png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7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6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8.xml"/><Relationship Id="rId5" Type="http://schemas.openxmlformats.org/officeDocument/2006/relationships/image" Target="../media/image17.png"/><Relationship Id="rId4" Type="http://schemas.openxmlformats.org/officeDocument/2006/relationships/image" Target="../media/image6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9.xml"/><Relationship Id="rId6" Type="http://schemas.openxmlformats.org/officeDocument/2006/relationships/image" Target="../media/image18.png"/><Relationship Id="rId5" Type="http://schemas.openxmlformats.org/officeDocument/2006/relationships/hyperlink" Target="https://gls-group.eu/DE/de/kompensation/" TargetMode="External"/><Relationship Id="rId4" Type="http://schemas.openxmlformats.org/officeDocument/2006/relationships/image" Target="../media/image6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0.xml"/><Relationship Id="rId6" Type="http://schemas.openxmlformats.org/officeDocument/2006/relationships/image" Target="../media/image5.png"/><Relationship Id="rId5" Type="http://schemas.openxmlformats.org/officeDocument/2006/relationships/image" Target="../media/image19.jpeg"/><Relationship Id="rId4" Type="http://schemas.openxmlformats.org/officeDocument/2006/relationships/image" Target="../media/image6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2018189-1E5F-48ED-8E7E-5969ACFC191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04384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4" progId="TCLayout.ActiveDocument.1">
                  <p:embed/>
                </p:oleObj>
              </mc:Choice>
              <mc:Fallback>
                <p:oleObj name="think-cell Folie" r:id="rId3" imgW="425" imgH="42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2018189-1E5F-48ED-8E7E-5969ACFC19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90103BA-0763-4FFE-A610-DEFAD9577D1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310404" y="3343277"/>
            <a:ext cx="3050743" cy="1041247"/>
          </a:xfrm>
        </p:spPr>
        <p:txBody>
          <a:bodyPr/>
          <a:lstStyle/>
          <a:p>
            <a:pPr marL="0" indent="0" algn="ctr">
              <a:buNone/>
            </a:pPr>
            <a:r>
              <a:rPr lang="de-DE" sz="1600" b="1" dirty="0">
                <a:latin typeface="Newson GLS" panose="020B0603040202020204" pitchFamily="34" charset="0"/>
                <a:ea typeface="Newson GLS" panose="020B0603040202020204" pitchFamily="34" charset="0"/>
              </a:rPr>
              <a:t>In vier Schritten zu Ihrem Kompensationszertifikat</a:t>
            </a:r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2EFFDFF4-342F-418C-A9AD-BDE15F52149D}"/>
              </a:ext>
            </a:extLst>
          </p:cNvPr>
          <p:cNvSpPr txBox="1">
            <a:spLocks/>
          </p:cNvSpPr>
          <p:nvPr/>
        </p:nvSpPr>
        <p:spPr>
          <a:xfrm>
            <a:off x="4616451" y="644246"/>
            <a:ext cx="4286250" cy="1155979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  <a:softEdge rad="127000"/>
          </a:effectLst>
        </p:spPr>
        <p:txBody>
          <a:bodyPr vert="horz" wrap="square" lIns="36000" tIns="0" rIns="36000" bIns="36000" rtlCol="0" anchor="ctr" anchorCtr="0"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800" dirty="0">
                <a:latin typeface="Newson GLS" panose="020B0603040202020204" pitchFamily="34" charset="0"/>
                <a:ea typeface="Newson GLS" panose="020B0603040202020204" pitchFamily="34" charset="0"/>
              </a:rPr>
              <a:t>Ihr Beitrag zur Nachhaltigkeit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EB9B333B-169F-4307-A2DF-AACCB28B26E4}"/>
              </a:ext>
            </a:extLst>
          </p:cNvPr>
          <p:cNvSpPr/>
          <p:nvPr/>
        </p:nvSpPr>
        <p:spPr>
          <a:xfrm>
            <a:off x="3491697" y="1800225"/>
            <a:ext cx="2510921" cy="72072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de-DE" sz="1000" dirty="0" err="1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3EE9F52F-1812-4FA1-BCCF-92E137C8BD26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1529" r="20625"/>
          <a:stretch/>
        </p:blipFill>
        <p:spPr>
          <a:xfrm>
            <a:off x="0" y="0"/>
            <a:ext cx="4464050" cy="5143500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DF7370CD-EFA9-4FA2-A598-2AEDD00829A4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40791" r="7126"/>
          <a:stretch/>
        </p:blipFill>
        <p:spPr>
          <a:xfrm rot="5400000">
            <a:off x="6070600" y="2182201"/>
            <a:ext cx="1377950" cy="798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991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5C7A42E-DC1C-4E48-8167-1307E8F0C91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22727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4" progId="TCLayout.ActiveDocument.1">
                  <p:embed/>
                </p:oleObj>
              </mc:Choice>
              <mc:Fallback>
                <p:oleObj name="think-cell Folie" r:id="rId3" imgW="425" imgH="42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5C7A42E-DC1C-4E48-8167-1307E8F0C9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095CD59-4895-4C6D-88A7-6ADB9E88D4F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71880" y="767451"/>
            <a:ext cx="2146767" cy="1355020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de-DE" sz="1800" dirty="0">
                <a:solidFill>
                  <a:schemeClr val="bg2"/>
                </a:solidFill>
                <a:latin typeface="Newson GLS" panose="020B0603040202020204" pitchFamily="34" charset="0"/>
                <a:ea typeface="Newson GLS" panose="020B0603040202020204" pitchFamily="34" charset="0"/>
              </a:rPr>
              <a:t>Schritt 1:</a:t>
            </a:r>
          </a:p>
          <a:p>
            <a:pPr>
              <a:spcAft>
                <a:spcPts val="600"/>
              </a:spcAft>
            </a:pPr>
            <a:r>
              <a:rPr lang="de-DE" sz="1800" dirty="0">
                <a:latin typeface="Newson GLS" panose="020B0603040202020204" pitchFamily="34" charset="0"/>
                <a:ea typeface="Newson GLS" panose="020B0603040202020204" pitchFamily="34" charset="0"/>
              </a:rPr>
              <a:t>Anmeldung im Kundenporta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723E1BD3-552E-49A5-B2A6-1038DF60EC3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71880" y="1925621"/>
            <a:ext cx="2326520" cy="1873799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de-DE" dirty="0">
                <a:latin typeface="Newson GLS" panose="020B0603040202020204" pitchFamily="34" charset="0"/>
                <a:ea typeface="Newson GLS" panose="020B0603040202020204" pitchFamily="34" charset="0"/>
              </a:rPr>
              <a:t>Melden Sie sich wie gewohnt mit Ihren </a:t>
            </a:r>
            <a:r>
              <a:rPr lang="de-DE" b="1" dirty="0">
                <a:latin typeface="Newson GLS" panose="020B0603040202020204" pitchFamily="34" charset="0"/>
                <a:ea typeface="Newson GLS" panose="020B0603040202020204" pitchFamily="34" charset="0"/>
              </a:rPr>
              <a:t>Kundendaten</a:t>
            </a:r>
            <a:r>
              <a:rPr lang="de-DE" dirty="0">
                <a:latin typeface="Newson GLS" panose="020B0603040202020204" pitchFamily="34" charset="0"/>
                <a:ea typeface="Newson GLS" panose="020B0603040202020204" pitchFamily="34" charset="0"/>
              </a:rPr>
              <a:t> in unserem </a:t>
            </a:r>
            <a:r>
              <a:rPr lang="de-DE" b="1" dirty="0">
                <a:solidFill>
                  <a:schemeClr val="bg2"/>
                </a:solidFill>
                <a:latin typeface="Newson GLS" panose="020B0603040202020204" pitchFamily="34" charset="0"/>
                <a:ea typeface="Newson GLS" panose="020B0603040202020204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GLS Kundenportal </a:t>
            </a:r>
            <a:r>
              <a:rPr lang="de-DE" dirty="0">
                <a:latin typeface="Newson GLS" panose="020B0603040202020204" pitchFamily="34" charset="0"/>
                <a:ea typeface="Newson GLS" panose="020B0603040202020204" pitchFamily="34" charset="0"/>
              </a:rPr>
              <a:t>an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AD6C100-6BD1-4360-9C0A-DEBF96B0272F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2742954" y="410613"/>
            <a:ext cx="6229166" cy="268320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98" name="Pfeil: nach unten 97">
            <a:extLst>
              <a:ext uri="{FF2B5EF4-FFF2-40B4-BE49-F238E27FC236}">
                <a16:creationId xmlns:a16="http://schemas.microsoft.com/office/drawing/2014/main" id="{064C2B75-EBEA-4B3D-8FE8-6AD31D2A7F68}"/>
              </a:ext>
            </a:extLst>
          </p:cNvPr>
          <p:cNvSpPr/>
          <p:nvPr/>
        </p:nvSpPr>
        <p:spPr>
          <a:xfrm>
            <a:off x="8388698" y="140676"/>
            <a:ext cx="288000" cy="319173"/>
          </a:xfrm>
          <a:prstGeom prst="downArrow">
            <a:avLst/>
          </a:prstGeom>
          <a:solidFill>
            <a:srgbClr val="FF0000"/>
          </a:solidFill>
          <a:ln>
            <a:solidFill>
              <a:srgbClr val="FF0000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200" b="1" dirty="0">
              <a:latin typeface="Newson GLS" panose="020B0603040202020204" pitchFamily="34" charset="0"/>
              <a:ea typeface="Newson GLS" panose="020B0603040202020204" pitchFamily="34" charset="0"/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3B7E9843-47AD-BBDB-AA54-E167A90035B5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4825620" y="2633822"/>
            <a:ext cx="2063834" cy="2313182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2" name="Pfeil: nach unten 1">
            <a:extLst>
              <a:ext uri="{FF2B5EF4-FFF2-40B4-BE49-F238E27FC236}">
                <a16:creationId xmlns:a16="http://schemas.microsoft.com/office/drawing/2014/main" id="{F4AA4937-101B-87F3-2347-324F536E1D33}"/>
              </a:ext>
            </a:extLst>
          </p:cNvPr>
          <p:cNvSpPr/>
          <p:nvPr/>
        </p:nvSpPr>
        <p:spPr>
          <a:xfrm rot="5400000">
            <a:off x="6823575" y="1807132"/>
            <a:ext cx="288000" cy="540000"/>
          </a:xfrm>
          <a:prstGeom prst="downArrow">
            <a:avLst/>
          </a:prstGeom>
          <a:solidFill>
            <a:srgbClr val="FF0000"/>
          </a:solidFill>
          <a:ln>
            <a:solidFill>
              <a:srgbClr val="FF0000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200" b="1" dirty="0">
              <a:latin typeface="Newson GLS" panose="020B0603040202020204" pitchFamily="34" charset="0"/>
              <a:ea typeface="Newson GLS" panose="020B0603040202020204" pitchFamily="34" charset="0"/>
            </a:endParaRPr>
          </a:p>
        </p:txBody>
      </p:sp>
      <p:sp>
        <p:nvSpPr>
          <p:cNvPr id="97" name="Pfeil: nach unten 96">
            <a:extLst>
              <a:ext uri="{FF2B5EF4-FFF2-40B4-BE49-F238E27FC236}">
                <a16:creationId xmlns:a16="http://schemas.microsoft.com/office/drawing/2014/main" id="{9E4F75E8-8225-4FA1-8EA8-1512A38292F4}"/>
              </a:ext>
            </a:extLst>
          </p:cNvPr>
          <p:cNvSpPr/>
          <p:nvPr/>
        </p:nvSpPr>
        <p:spPr>
          <a:xfrm rot="5400000">
            <a:off x="6952221" y="4318887"/>
            <a:ext cx="288000" cy="540000"/>
          </a:xfrm>
          <a:prstGeom prst="downArrow">
            <a:avLst/>
          </a:prstGeom>
          <a:solidFill>
            <a:srgbClr val="FF0000"/>
          </a:solidFill>
          <a:ln>
            <a:solidFill>
              <a:srgbClr val="FF0000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200" b="1" dirty="0">
              <a:latin typeface="Newson GLS" panose="020B0603040202020204" pitchFamily="34" charset="0"/>
              <a:ea typeface="Newson GLS" panose="020B060304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570388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33053D3-4431-4B6F-A6DC-AE85B08B263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87447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4" progId="TCLayout.ActiveDocument.1">
                  <p:embed/>
                </p:oleObj>
              </mc:Choice>
              <mc:Fallback>
                <p:oleObj name="think-cell Folie" r:id="rId3" imgW="425" imgH="42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933053D3-4431-4B6F-A6DC-AE85B08B26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ABB5680-89F6-44F1-B670-54B4F1CD8F8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764924" y="429298"/>
            <a:ext cx="2302876" cy="1672165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de-DE" sz="1800" b="1" dirty="0">
                <a:solidFill>
                  <a:schemeClr val="bg2"/>
                </a:solidFill>
                <a:latin typeface="Newson GLS" panose="020B0603040202020204" pitchFamily="34" charset="0"/>
                <a:ea typeface="Newson GLS" panose="020B0603040202020204" pitchFamily="34" charset="0"/>
              </a:rPr>
              <a:t>Schritt 2:</a:t>
            </a:r>
          </a:p>
          <a:p>
            <a:pPr>
              <a:spcAft>
                <a:spcPts val="600"/>
              </a:spcAft>
            </a:pPr>
            <a:r>
              <a:rPr lang="de-DE" sz="1800" b="1" dirty="0">
                <a:latin typeface="Newson GLS" panose="020B0603040202020204" pitchFamily="34" charset="0"/>
                <a:ea typeface="Newson GLS" panose="020B0603040202020204" pitchFamily="34" charset="0"/>
              </a:rPr>
              <a:t>Auswahl der Dokumente</a:t>
            </a:r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5415EFE7-4743-4F5B-9F97-0B72861A9A0E}"/>
              </a:ext>
            </a:extLst>
          </p:cNvPr>
          <p:cNvSpPr txBox="1">
            <a:spLocks/>
          </p:cNvSpPr>
          <p:nvPr/>
        </p:nvSpPr>
        <p:spPr>
          <a:xfrm>
            <a:off x="6764923" y="1682363"/>
            <a:ext cx="2379077" cy="143795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14400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SzPct val="120000"/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4400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Verdana" panose="020B0604030504040204" pitchFamily="34" charset="0"/>
              <a:buChar char="‒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000" indent="-14400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SzPct val="80000"/>
              <a:buFont typeface="Courier New" panose="02070309020205020404" pitchFamily="49" charset="0"/>
              <a:buChar char="o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14400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SzPct val="70000"/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e-DE" sz="1200" dirty="0">
                <a:solidFill>
                  <a:schemeClr val="bg1"/>
                </a:solidFill>
                <a:latin typeface="Newson GLS" panose="020B0603040202020204" pitchFamily="34" charset="0"/>
                <a:ea typeface="Newson GLS" panose="020B0603040202020204" pitchFamily="34" charset="0"/>
              </a:rPr>
              <a:t>In Ihrem Dashboard finden Sie den </a:t>
            </a:r>
            <a:r>
              <a:rPr lang="de-DE" sz="1200" b="1" dirty="0">
                <a:solidFill>
                  <a:schemeClr val="bg1"/>
                </a:solidFill>
                <a:latin typeface="Newson GLS" panose="020B0603040202020204" pitchFamily="34" charset="0"/>
                <a:ea typeface="Newson GLS" panose="020B0603040202020204" pitchFamily="34" charset="0"/>
              </a:rPr>
              <a:t>Abschnitt</a:t>
            </a:r>
            <a:r>
              <a:rPr lang="de-DE" sz="1200" dirty="0">
                <a:solidFill>
                  <a:schemeClr val="bg1"/>
                </a:solidFill>
                <a:latin typeface="Newson GLS" panose="020B0603040202020204" pitchFamily="34" charset="0"/>
                <a:ea typeface="Newson GLS" panose="020B0603040202020204" pitchFamily="34" charset="0"/>
              </a:rPr>
              <a:t> “</a:t>
            </a:r>
            <a:r>
              <a:rPr lang="de-DE" sz="1200" b="1" dirty="0">
                <a:solidFill>
                  <a:schemeClr val="bg1"/>
                </a:solidFill>
                <a:latin typeface="Newson GLS" panose="020B0603040202020204" pitchFamily="34" charset="0"/>
                <a:ea typeface="Newson GLS" panose="020B0603040202020204" pitchFamily="34" charset="0"/>
              </a:rPr>
              <a:t>Dokumente</a:t>
            </a:r>
            <a:r>
              <a:rPr lang="de-DE" sz="1200" dirty="0">
                <a:solidFill>
                  <a:schemeClr val="bg1"/>
                </a:solidFill>
                <a:latin typeface="Newson GLS" panose="020B0603040202020204" pitchFamily="34" charset="0"/>
                <a:ea typeface="Newson GLS" panose="020B0603040202020204" pitchFamily="34" charset="0"/>
              </a:rPr>
              <a:t>”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e-DE" sz="1200" dirty="0">
                <a:solidFill>
                  <a:schemeClr val="bg1"/>
                </a:solidFill>
                <a:latin typeface="Newson GLS" panose="020B0603040202020204" pitchFamily="34" charset="0"/>
                <a:ea typeface="Newson GLS" panose="020B0603040202020204" pitchFamily="34" charset="0"/>
              </a:rPr>
              <a:t>Klicken Sie drauf und wählen Sie im Anschluss einen Versender aus</a:t>
            </a:r>
            <a:endParaRPr lang="de-DE" dirty="0">
              <a:solidFill>
                <a:schemeClr val="bg1"/>
              </a:solidFill>
              <a:latin typeface="Newson GLS" panose="020B0603040202020204" pitchFamily="34" charset="0"/>
              <a:ea typeface="Newson GLS" panose="020B0603040202020204" pitchFamily="34" charset="0"/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5D1C1C45-1CCA-2E6D-524C-593A30B1AD86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42103" t="4933" r="42293" b="66000"/>
          <a:stretch/>
        </p:blipFill>
        <p:spPr>
          <a:xfrm>
            <a:off x="2829600" y="913463"/>
            <a:ext cx="937878" cy="1188000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6" name="Grafik 5" descr="Ein Bild, das Text, Software, Webseite, Computersymbol enthält.&#10;&#10;Automatisch generierte Beschreibung">
            <a:extLst>
              <a:ext uri="{FF2B5EF4-FFF2-40B4-BE49-F238E27FC236}">
                <a16:creationId xmlns:a16="http://schemas.microsoft.com/office/drawing/2014/main" id="{0537901D-3421-8B6D-1DA5-669151D6EF5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8759" y="429298"/>
            <a:ext cx="6239560" cy="1759685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13" name="Grafik 12" descr="Ein Bild, das Text, Software, Screenshot, Webseite enthält.&#10;&#10;Automatisch generierte Beschreibung">
            <a:extLst>
              <a:ext uri="{FF2B5EF4-FFF2-40B4-BE49-F238E27FC236}">
                <a16:creationId xmlns:a16="http://schemas.microsoft.com/office/drawing/2014/main" id="{14512FD1-5795-BD74-A4DB-ED6D9D7229D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78758" y="3200516"/>
            <a:ext cx="6239561" cy="1748572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11" name="Grafik 10" descr="Ein Bild, das Text, Software, Webseite, Computersymbol enthält.&#10;&#10;Automatisch generierte Beschreibung">
            <a:extLst>
              <a:ext uri="{FF2B5EF4-FFF2-40B4-BE49-F238E27FC236}">
                <a16:creationId xmlns:a16="http://schemas.microsoft.com/office/drawing/2014/main" id="{070A6944-395A-86C6-F434-722B09C7CA10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89743"/>
          <a:stretch/>
        </p:blipFill>
        <p:spPr>
          <a:xfrm>
            <a:off x="178758" y="1399463"/>
            <a:ext cx="1290041" cy="3547107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9" name="Pfeil: nach unten 8">
            <a:extLst>
              <a:ext uri="{FF2B5EF4-FFF2-40B4-BE49-F238E27FC236}">
                <a16:creationId xmlns:a16="http://schemas.microsoft.com/office/drawing/2014/main" id="{4FD84C1D-11EE-BECF-66C2-4953F913B53B}"/>
              </a:ext>
            </a:extLst>
          </p:cNvPr>
          <p:cNvSpPr/>
          <p:nvPr/>
        </p:nvSpPr>
        <p:spPr>
          <a:xfrm rot="5400000">
            <a:off x="1322203" y="2636838"/>
            <a:ext cx="288000" cy="540000"/>
          </a:xfrm>
          <a:prstGeom prst="downArrow">
            <a:avLst/>
          </a:prstGeom>
          <a:solidFill>
            <a:srgbClr val="FF0000"/>
          </a:solidFill>
          <a:ln>
            <a:solidFill>
              <a:srgbClr val="FF0000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200" b="1" dirty="0">
              <a:latin typeface="Newson GLS" panose="020B0603040202020204" pitchFamily="34" charset="0"/>
              <a:ea typeface="Newson GLS" panose="020B0603040202020204" pitchFamily="34" charset="0"/>
            </a:endParaRPr>
          </a:p>
        </p:txBody>
      </p:sp>
      <p:sp>
        <p:nvSpPr>
          <p:cNvPr id="16" name="Pfeil: nach unten 15">
            <a:extLst>
              <a:ext uri="{FF2B5EF4-FFF2-40B4-BE49-F238E27FC236}">
                <a16:creationId xmlns:a16="http://schemas.microsoft.com/office/drawing/2014/main" id="{6E60AE98-E009-8305-0234-E16E07A075B9}"/>
              </a:ext>
            </a:extLst>
          </p:cNvPr>
          <p:cNvSpPr/>
          <p:nvPr/>
        </p:nvSpPr>
        <p:spPr>
          <a:xfrm>
            <a:off x="3479478" y="2903016"/>
            <a:ext cx="288000" cy="540000"/>
          </a:xfrm>
          <a:prstGeom prst="downArrow">
            <a:avLst/>
          </a:prstGeom>
          <a:solidFill>
            <a:srgbClr val="FF0000"/>
          </a:solidFill>
          <a:ln>
            <a:solidFill>
              <a:srgbClr val="FF0000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200" b="1" dirty="0">
              <a:latin typeface="Newson GLS" panose="020B0603040202020204" pitchFamily="34" charset="0"/>
              <a:ea typeface="Newson GLS" panose="020B060304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5765680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64026435-EBB0-4353-A250-22744CAEB0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587683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4" progId="TCLayout.ActiveDocument.1">
                  <p:embed/>
                </p:oleObj>
              </mc:Choice>
              <mc:Fallback>
                <p:oleObj name="think-cell Folie" r:id="rId3" imgW="425" imgH="42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64026435-EBB0-4353-A250-22744CAEB0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A2604645-BD76-4EBE-9A3F-B03F74B4AE0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07060" y="791044"/>
            <a:ext cx="2171351" cy="1037756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de-DE" sz="1800" dirty="0">
                <a:solidFill>
                  <a:schemeClr val="bg2"/>
                </a:solidFill>
                <a:latin typeface="Newson GLS" panose="020B0603040202020204" pitchFamily="34" charset="0"/>
                <a:ea typeface="Newson GLS" panose="020B0603040202020204" pitchFamily="34" charset="0"/>
              </a:rPr>
              <a:t>Schritt 3:</a:t>
            </a:r>
          </a:p>
          <a:p>
            <a:pPr>
              <a:spcAft>
                <a:spcPts val="600"/>
              </a:spcAft>
            </a:pPr>
            <a:r>
              <a:rPr lang="de-DE" sz="1800" dirty="0">
                <a:latin typeface="Newson GLS" panose="020B0603040202020204" pitchFamily="34" charset="0"/>
                <a:ea typeface="Newson GLS" panose="020B0603040202020204" pitchFamily="34" charset="0"/>
              </a:rPr>
              <a:t>Klima Protect Dokument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3ADE9D8-D38A-4351-88F3-E78D2F95414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07060" y="1946246"/>
            <a:ext cx="2261077" cy="2221894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de-DE" dirty="0">
                <a:latin typeface="Newson GLS" panose="020B0603040202020204" pitchFamily="34" charset="0"/>
                <a:ea typeface="Newson GLS" panose="020B0603040202020204" pitchFamily="34" charset="0"/>
              </a:rPr>
              <a:t>Auf der rechten Seite im Dashboard finden Sie den </a:t>
            </a:r>
            <a:r>
              <a:rPr lang="de-DE" b="1" dirty="0">
                <a:latin typeface="Newson GLS" panose="020B0603040202020204" pitchFamily="34" charset="0"/>
                <a:ea typeface="Newson GLS" panose="020B0603040202020204" pitchFamily="34" charset="0"/>
              </a:rPr>
              <a:t>Bereich Klima Protect Dokument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>
                <a:latin typeface="Newson GLS" panose="020B0603040202020204" pitchFamily="34" charset="0"/>
                <a:ea typeface="Newson GLS" panose="020B0603040202020204" pitchFamily="34" charset="0"/>
              </a:rPr>
              <a:t>Klicken Sie im sich öffnenden Fenster </a:t>
            </a:r>
            <a:r>
              <a:rPr kumimoji="0" lang="de-DE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ewson GLS" panose="020B0603040202020204" pitchFamily="34" charset="0"/>
                <a:ea typeface="Newson GLS" panose="020B0603040202020204" pitchFamily="34" charset="0"/>
                <a:cs typeface="+mn-cs"/>
              </a:rPr>
              <a:t>auf das Feld “</a:t>
            </a: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ewson GLS" panose="020B0603040202020204" pitchFamily="34" charset="0"/>
                <a:ea typeface="Newson GLS" panose="020B0603040202020204" pitchFamily="34" charset="0"/>
                <a:cs typeface="+mn-cs"/>
              </a:rPr>
              <a:t>Zertifikat abrufen</a:t>
            </a:r>
            <a:r>
              <a:rPr kumimoji="0" lang="de-DE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ewson GLS" panose="020B0603040202020204" pitchFamily="34" charset="0"/>
                <a:ea typeface="Newson GLS" panose="020B0603040202020204" pitchFamily="34" charset="0"/>
                <a:cs typeface="+mn-cs"/>
              </a:rPr>
              <a:t>”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ewson GLS" panose="020B0603040202020204" pitchFamily="34" charset="0"/>
                <a:ea typeface="Newson GLS" panose="020B0603040202020204" pitchFamily="34" charset="0"/>
                <a:cs typeface="+mn-cs"/>
              </a:rPr>
              <a:t>Sie werden dann auf Ihre individuelle Kundenseite weitergeleitet</a:t>
            </a:r>
          </a:p>
          <a:p>
            <a:pPr>
              <a:spcAft>
                <a:spcPts val="600"/>
              </a:spcAft>
            </a:pPr>
            <a:endParaRPr lang="de-DE" sz="1050" dirty="0">
              <a:latin typeface="Newson GLS" panose="020B0603040202020204" pitchFamily="34" charset="0"/>
              <a:ea typeface="Newson GLS" panose="020B0603040202020204" pitchFamily="34" charset="0"/>
            </a:endParaRP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251D57BB-16E8-ADDB-395A-F42A5F6104F2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2778501" y="792426"/>
            <a:ext cx="6202337" cy="1767899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14" name="Grafik 13" descr="Ein Bild, das Text, Screenshot, Schrift, Reihe enthält.&#10;&#10;Automatisch generierte Beschreibung">
            <a:extLst>
              <a:ext uri="{FF2B5EF4-FFF2-40B4-BE49-F238E27FC236}">
                <a16:creationId xmlns:a16="http://schemas.microsoft.com/office/drawing/2014/main" id="{5B7DFAC3-BC5E-2A07-36E3-4943877A9E49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5413" t="7491" b="3287"/>
          <a:stretch/>
        </p:blipFill>
        <p:spPr>
          <a:xfrm>
            <a:off x="5410200" y="1946247"/>
            <a:ext cx="2929203" cy="2049781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15" name="Pfeil: nach unten 14">
            <a:extLst>
              <a:ext uri="{FF2B5EF4-FFF2-40B4-BE49-F238E27FC236}">
                <a16:creationId xmlns:a16="http://schemas.microsoft.com/office/drawing/2014/main" id="{C8E20985-B152-B543-B8D0-8CD8B09A3B01}"/>
              </a:ext>
            </a:extLst>
          </p:cNvPr>
          <p:cNvSpPr/>
          <p:nvPr/>
        </p:nvSpPr>
        <p:spPr>
          <a:xfrm rot="16200000">
            <a:off x="7694130" y="1163754"/>
            <a:ext cx="288000" cy="540000"/>
          </a:xfrm>
          <a:prstGeom prst="downArrow">
            <a:avLst/>
          </a:prstGeom>
          <a:solidFill>
            <a:srgbClr val="FF0000"/>
          </a:solidFill>
          <a:ln>
            <a:solidFill>
              <a:srgbClr val="FF0000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200" b="1" dirty="0">
              <a:latin typeface="Newson GLS" panose="020B0603040202020204" pitchFamily="34" charset="0"/>
              <a:ea typeface="Newson GLS" panose="020B0603040202020204" pitchFamily="34" charset="0"/>
            </a:endParaRPr>
          </a:p>
        </p:txBody>
      </p:sp>
      <p:sp>
        <p:nvSpPr>
          <p:cNvPr id="16" name="Pfeil: nach unten 15">
            <a:extLst>
              <a:ext uri="{FF2B5EF4-FFF2-40B4-BE49-F238E27FC236}">
                <a16:creationId xmlns:a16="http://schemas.microsoft.com/office/drawing/2014/main" id="{817A8E80-BBC4-BFDC-14D3-B0567E35864A}"/>
              </a:ext>
            </a:extLst>
          </p:cNvPr>
          <p:cNvSpPr/>
          <p:nvPr/>
        </p:nvSpPr>
        <p:spPr>
          <a:xfrm rot="16200000">
            <a:off x="4996200" y="3419274"/>
            <a:ext cx="288000" cy="540000"/>
          </a:xfrm>
          <a:prstGeom prst="downArrow">
            <a:avLst/>
          </a:prstGeom>
          <a:solidFill>
            <a:srgbClr val="FF0000"/>
          </a:solidFill>
          <a:ln>
            <a:solidFill>
              <a:srgbClr val="FF0000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200" b="1" dirty="0">
              <a:latin typeface="Newson GLS" panose="020B0603040202020204" pitchFamily="34" charset="0"/>
              <a:ea typeface="Newson GLS" panose="020B0603040202020204" pitchFamily="34" charset="0"/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AD95645E-7C8C-F5DD-1260-233893EEDF3F}"/>
              </a:ext>
            </a:extLst>
          </p:cNvPr>
          <p:cNvSpPr txBox="1"/>
          <p:nvPr/>
        </p:nvSpPr>
        <p:spPr>
          <a:xfrm>
            <a:off x="3208409" y="227278"/>
            <a:ext cx="5712991" cy="318924"/>
          </a:xfrm>
          <a:prstGeom prst="rect">
            <a:avLst/>
          </a:prstGeom>
          <a:noFill/>
          <a:effectLst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800" i="1" dirty="0">
                <a:latin typeface="Newson GLS" panose="020B0603040202020204" pitchFamily="34" charset="0"/>
                <a:ea typeface="Newson GLS" panose="020B0603040202020204" pitchFamily="34" charset="0"/>
              </a:rPr>
              <a:t>In Zusammenarbeit mit </a:t>
            </a:r>
            <a:r>
              <a:rPr lang="de-DE" sz="800" b="1" i="1" dirty="0">
                <a:latin typeface="Newson GLS" panose="020B0603040202020204" pitchFamily="34" charset="0"/>
                <a:ea typeface="Newson GLS" panose="020B0603040202020204" pitchFamily="34" charset="0"/>
              </a:rPr>
              <a:t>ClimatePartner</a:t>
            </a:r>
            <a:r>
              <a:rPr lang="de-DE" sz="800" i="1" dirty="0">
                <a:latin typeface="Newson GLS" panose="020B0603040202020204" pitchFamily="34" charset="0"/>
                <a:ea typeface="Newson GLS" panose="020B0603040202020204" pitchFamily="34" charset="0"/>
              </a:rPr>
              <a:t> kompensieren wir zusätzlich und freiwillig die Menge an Treibhausgasemissionen, die beim Pakettransport sowie durch Geschäftsreisen und die Gebäudenutzung entstehen</a:t>
            </a:r>
          </a:p>
        </p:txBody>
      </p:sp>
      <p:pic>
        <p:nvPicPr>
          <p:cNvPr id="18" name="Picture 10" descr="icon information_yellow">
            <a:extLst>
              <a:ext uri="{FF2B5EF4-FFF2-40B4-BE49-F238E27FC236}">
                <a16:creationId xmlns:a16="http://schemas.microsoft.com/office/drawing/2014/main" id="{4D22C820-4356-C3D9-37D4-5B4FF615A2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2167" b="96667" l="3167" r="96167">
                        <a14:foregroundMark x1="41333" y1="25833" x2="41333" y2="25833"/>
                        <a14:foregroundMark x1="35667" y1="25333" x2="43333" y2="14833"/>
                        <a14:foregroundMark x1="39000" y1="22000" x2="22667" y2="36000"/>
                        <a14:foregroundMark x1="24000" y1="43667" x2="23167" y2="49500"/>
                        <a14:foregroundMark x1="15333" y1="40833" x2="21167" y2="64333"/>
                        <a14:foregroundMark x1="5833" y1="44167" x2="17000" y2="76333"/>
                        <a14:foregroundMark x1="17000" y1="76333" x2="49500" y2="91333"/>
                        <a14:foregroundMark x1="49500" y1="91333" x2="78000" y2="67333"/>
                        <a14:foregroundMark x1="78000" y1="67333" x2="77667" y2="33333"/>
                        <a14:foregroundMark x1="77667" y1="33333" x2="49167" y2="7500"/>
                        <a14:foregroundMark x1="49167" y1="7500" x2="37500" y2="7500"/>
                        <a14:foregroundMark x1="95333" y1="44667" x2="96333" y2="51333"/>
                        <a14:foregroundMark x1="47667" y1="96167" x2="54000" y2="96667"/>
                        <a14:foregroundMark x1="3333" y1="56167" x2="4333" y2="50000"/>
                        <a14:foregroundMark x1="45667" y1="2167" x2="53000" y2="216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3400" y="160479"/>
            <a:ext cx="452523" cy="4525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2567131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C92DCF4D-4BF7-44C5-9D27-02C57DD3D07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3168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4" progId="TCLayout.ActiveDocument.1">
                  <p:embed/>
                </p:oleObj>
              </mc:Choice>
              <mc:Fallback>
                <p:oleObj name="think-cell Folie" r:id="rId3" imgW="425" imgH="42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C92DCF4D-4BF7-44C5-9D27-02C57DD3D0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E95C3E3-719D-4345-B914-4108A41722B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686771" y="1510095"/>
            <a:ext cx="2339030" cy="2393797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de-DE" sz="1200" dirty="0">
                <a:latin typeface="Newson GLS" panose="020B0603040202020204" pitchFamily="34" charset="0"/>
                <a:ea typeface="Newson GLS" panose="020B0603040202020204" pitchFamily="34" charset="0"/>
              </a:rPr>
              <a:t>Auf Ihrer Kundenseite können Sie Ihr individuelles </a:t>
            </a:r>
            <a:r>
              <a:rPr lang="de-DE" sz="1200" b="1" dirty="0">
                <a:latin typeface="Newson GLS" panose="020B0603040202020204" pitchFamily="34" charset="0"/>
                <a:ea typeface="Newson GLS" panose="020B0603040202020204" pitchFamily="34" charset="0"/>
              </a:rPr>
              <a:t>Kompensationszertifikat</a:t>
            </a:r>
            <a:r>
              <a:rPr lang="de-DE" sz="1200" dirty="0">
                <a:latin typeface="Newson GLS" panose="020B0603040202020204" pitchFamily="34" charset="0"/>
                <a:ea typeface="Newson GLS" panose="020B0603040202020204" pitchFamily="34" charset="0"/>
              </a:rPr>
              <a:t> einsehen und </a:t>
            </a:r>
            <a:r>
              <a:rPr lang="de-DE" sz="1200" b="1" dirty="0">
                <a:latin typeface="Newson GLS" panose="020B0603040202020204" pitchFamily="34" charset="0"/>
                <a:ea typeface="Newson GLS" panose="020B0603040202020204" pitchFamily="34" charset="0"/>
              </a:rPr>
              <a:t>herunterladen</a:t>
            </a:r>
            <a:endParaRPr lang="de-DE" sz="1200" dirty="0">
              <a:latin typeface="Newson GLS" panose="020B0603040202020204" pitchFamily="34" charset="0"/>
              <a:ea typeface="Newson GLS" panose="020B0603040202020204" pitchFamily="34" charset="0"/>
            </a:endParaRPr>
          </a:p>
          <a:p>
            <a:pPr>
              <a:spcAft>
                <a:spcPts val="600"/>
              </a:spcAft>
            </a:pPr>
            <a:r>
              <a:rPr lang="de-DE" sz="1200" dirty="0">
                <a:latin typeface="Newson GLS" panose="020B0603040202020204" pitchFamily="34" charset="0"/>
                <a:ea typeface="Newson GLS" panose="020B0603040202020204" pitchFamily="34" charset="0"/>
              </a:rPr>
              <a:t>Dort finden Sie auch weitere </a:t>
            </a:r>
            <a:r>
              <a:rPr lang="de-DE" sz="1200" b="1" dirty="0">
                <a:latin typeface="Newson GLS" panose="020B0603040202020204" pitchFamily="34" charset="0"/>
                <a:ea typeface="Newson GLS" panose="020B0603040202020204" pitchFamily="34" charset="0"/>
              </a:rPr>
              <a:t>Informationen</a:t>
            </a:r>
            <a:r>
              <a:rPr lang="de-DE" sz="1200" dirty="0">
                <a:latin typeface="Newson GLS" panose="020B0603040202020204" pitchFamily="34" charset="0"/>
                <a:ea typeface="Newson GLS" panose="020B0603040202020204" pitchFamily="34" charset="0"/>
              </a:rPr>
              <a:t> zu den Klimaschutzprojekten</a:t>
            </a: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03B582E9-FDE3-4FDD-849B-1EA667694DBC}"/>
              </a:ext>
            </a:extLst>
          </p:cNvPr>
          <p:cNvSpPr txBox="1"/>
          <p:nvPr/>
        </p:nvSpPr>
        <p:spPr>
          <a:xfrm>
            <a:off x="1002156" y="4329371"/>
            <a:ext cx="1865870" cy="349702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effectLst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900" dirty="0">
                <a:latin typeface="Newson GLS" panose="020B0603040202020204" pitchFamily="34" charset="0"/>
                <a:ea typeface="Newson GLS" panose="020B0603040202020204" pitchFamily="34" charset="0"/>
              </a:rPr>
              <a:t>Ihr </a:t>
            </a:r>
            <a:r>
              <a:rPr lang="de-DE" sz="900" b="1" dirty="0">
                <a:latin typeface="Newson GLS" panose="020B0603040202020204" pitchFamily="34" charset="0"/>
                <a:ea typeface="Newson GLS" panose="020B0603040202020204" pitchFamily="34" charset="0"/>
              </a:rPr>
              <a:t>Kompensationszertifikat </a:t>
            </a:r>
            <a:r>
              <a:rPr lang="de-DE" sz="900" dirty="0">
                <a:latin typeface="Newson GLS" panose="020B0603040202020204" pitchFamily="34" charset="0"/>
                <a:ea typeface="Newson GLS" panose="020B0603040202020204" pitchFamily="34" charset="0"/>
              </a:rPr>
              <a:t>(summiert seit dem Jahr 2022)</a:t>
            </a:r>
          </a:p>
        </p:txBody>
      </p:sp>
      <p:sp>
        <p:nvSpPr>
          <p:cNvPr id="37" name="Textplatzhalter 1">
            <a:extLst>
              <a:ext uri="{FF2B5EF4-FFF2-40B4-BE49-F238E27FC236}">
                <a16:creationId xmlns:a16="http://schemas.microsoft.com/office/drawing/2014/main" id="{C5017C0B-3E75-4CB7-B00C-A5A576FD91B3}"/>
              </a:ext>
            </a:extLst>
          </p:cNvPr>
          <p:cNvSpPr txBox="1">
            <a:spLocks/>
          </p:cNvSpPr>
          <p:nvPr/>
        </p:nvSpPr>
        <p:spPr>
          <a:xfrm>
            <a:off x="6673274" y="352894"/>
            <a:ext cx="2369126" cy="154255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14400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SzPct val="120000"/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4400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Verdana" panose="020B0604030504040204" pitchFamily="34" charset="0"/>
              <a:buChar char="‒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000" indent="-14400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SzPct val="80000"/>
              <a:buFont typeface="Courier New" panose="02070309020205020404" pitchFamily="49" charset="0"/>
              <a:buChar char="o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14400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SzPct val="70000"/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r>
              <a:rPr lang="de-DE" sz="1800" b="1" dirty="0">
                <a:solidFill>
                  <a:schemeClr val="bg2"/>
                </a:solidFill>
                <a:latin typeface="Newson GLS" panose="020B0603040202020204" pitchFamily="34" charset="0"/>
                <a:ea typeface="Newson GLS" panose="020B0603040202020204" pitchFamily="34" charset="0"/>
              </a:rPr>
              <a:t>Schritt 4:</a:t>
            </a:r>
          </a:p>
          <a:p>
            <a:pPr>
              <a:spcAft>
                <a:spcPts val="600"/>
              </a:spcAft>
            </a:pPr>
            <a:r>
              <a:rPr lang="de-DE" sz="1800" b="1" dirty="0">
                <a:solidFill>
                  <a:schemeClr val="bg1"/>
                </a:solidFill>
                <a:latin typeface="Newson GLS" panose="020B0603040202020204" pitchFamily="34" charset="0"/>
                <a:ea typeface="Newson GLS" panose="020B0603040202020204" pitchFamily="34" charset="0"/>
              </a:rPr>
              <a:t>Ihre Kundenseite</a:t>
            </a:r>
          </a:p>
        </p:txBody>
      </p:sp>
      <p:sp>
        <p:nvSpPr>
          <p:cNvPr id="23" name="Ellipse 22">
            <a:extLst>
              <a:ext uri="{FF2B5EF4-FFF2-40B4-BE49-F238E27FC236}">
                <a16:creationId xmlns:a16="http://schemas.microsoft.com/office/drawing/2014/main" id="{3105CBF0-4B1A-428F-BFAE-F0B87A93CAEF}"/>
              </a:ext>
            </a:extLst>
          </p:cNvPr>
          <p:cNvSpPr/>
          <p:nvPr/>
        </p:nvSpPr>
        <p:spPr>
          <a:xfrm>
            <a:off x="744379" y="4424186"/>
            <a:ext cx="144000" cy="144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de-DE" sz="800" b="1" dirty="0">
                <a:solidFill>
                  <a:schemeClr val="tx1"/>
                </a:solidFill>
                <a:latin typeface="Newson GLS" panose="020B0603040202020204" pitchFamily="34" charset="0"/>
                <a:ea typeface="Newson GLS" panose="020B0603040202020204" pitchFamily="34" charset="0"/>
              </a:rPr>
              <a:t>1</a:t>
            </a:r>
          </a:p>
        </p:txBody>
      </p:sp>
      <p:sp>
        <p:nvSpPr>
          <p:cNvPr id="24" name="Ellipse 23">
            <a:extLst>
              <a:ext uri="{FF2B5EF4-FFF2-40B4-BE49-F238E27FC236}">
                <a16:creationId xmlns:a16="http://schemas.microsoft.com/office/drawing/2014/main" id="{7209371D-5068-42F2-96C9-585E87003664}"/>
              </a:ext>
            </a:extLst>
          </p:cNvPr>
          <p:cNvSpPr/>
          <p:nvPr/>
        </p:nvSpPr>
        <p:spPr>
          <a:xfrm>
            <a:off x="744379" y="4825788"/>
            <a:ext cx="144000" cy="144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de-DE" sz="800" b="1" dirty="0">
                <a:solidFill>
                  <a:schemeClr val="tx1"/>
                </a:solidFill>
                <a:latin typeface="Newson GLS" panose="020B0603040202020204" pitchFamily="34" charset="0"/>
                <a:ea typeface="Newson GLS" panose="020B0603040202020204" pitchFamily="34" charset="0"/>
              </a:rPr>
              <a:t>2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9DFB2138-DADA-4130-853E-27DCC0204AD1}"/>
              </a:ext>
            </a:extLst>
          </p:cNvPr>
          <p:cNvSpPr txBox="1"/>
          <p:nvPr/>
        </p:nvSpPr>
        <p:spPr>
          <a:xfrm>
            <a:off x="1002156" y="4722937"/>
            <a:ext cx="1865870" cy="349702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effectLst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900" dirty="0">
                <a:latin typeface="Newson GLS" panose="020B0603040202020204" pitchFamily="34" charset="0"/>
                <a:ea typeface="Newson GLS" panose="020B0603040202020204" pitchFamily="34" charset="0"/>
              </a:rPr>
              <a:t>Ihr gesamter CO</a:t>
            </a:r>
            <a:r>
              <a:rPr lang="de-DE" sz="900" baseline="-25000" dirty="0">
                <a:latin typeface="Newson GLS" panose="020B0603040202020204" pitchFamily="34" charset="0"/>
                <a:ea typeface="Newson GLS" panose="020B0603040202020204" pitchFamily="34" charset="0"/>
              </a:rPr>
              <a:t>2</a:t>
            </a:r>
            <a:r>
              <a:rPr lang="de-DE" sz="900" dirty="0">
                <a:latin typeface="Newson GLS" panose="020B0603040202020204" pitchFamily="34" charset="0"/>
                <a:ea typeface="Newson GLS" panose="020B0603040202020204" pitchFamily="34" charset="0"/>
              </a:rPr>
              <a:t>-Offset-</a:t>
            </a:r>
            <a:r>
              <a:rPr lang="de-DE" sz="900" b="1" dirty="0">
                <a:latin typeface="Newson GLS" panose="020B0603040202020204" pitchFamily="34" charset="0"/>
                <a:ea typeface="Newson GLS" panose="020B0603040202020204" pitchFamily="34" charset="0"/>
              </a:rPr>
              <a:t>Verlauf</a:t>
            </a:r>
            <a:r>
              <a:rPr lang="de-DE" sz="900" dirty="0">
                <a:latin typeface="Newson GLS" panose="020B0603040202020204" pitchFamily="34" charset="0"/>
                <a:ea typeface="Newson GLS" panose="020B0603040202020204" pitchFamily="34" charset="0"/>
              </a:rPr>
              <a:t>, alle Zertifikate (aktuell und älter)</a:t>
            </a:r>
            <a:endParaRPr lang="de-DE" sz="900" b="1" dirty="0">
              <a:latin typeface="Newson GLS" panose="020B0603040202020204" pitchFamily="34" charset="0"/>
              <a:ea typeface="Newson GLS" panose="020B0603040202020204" pitchFamily="34" charset="0"/>
            </a:endParaRP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9E25B8AD-F507-4E31-9DF6-2F7A478F068D}"/>
              </a:ext>
            </a:extLst>
          </p:cNvPr>
          <p:cNvSpPr txBox="1"/>
          <p:nvPr/>
        </p:nvSpPr>
        <p:spPr>
          <a:xfrm>
            <a:off x="4114629" y="4329371"/>
            <a:ext cx="1816761" cy="349702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effectLst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900" dirty="0">
                <a:latin typeface="Newson GLS" panose="020B0603040202020204" pitchFamily="34" charset="0"/>
                <a:ea typeface="Newson GLS" panose="020B0603040202020204" pitchFamily="34" charset="0"/>
              </a:rPr>
              <a:t>Nähere Informationen über die </a:t>
            </a:r>
            <a:r>
              <a:rPr lang="de-DE" sz="900" b="1" dirty="0">
                <a:latin typeface="Newson GLS" panose="020B0603040202020204" pitchFamily="34" charset="0"/>
                <a:ea typeface="Newson GLS" panose="020B0603040202020204" pitchFamily="34" charset="0"/>
              </a:rPr>
              <a:t>Klimaschutz-Projekte</a:t>
            </a:r>
          </a:p>
        </p:txBody>
      </p:sp>
      <p:sp>
        <p:nvSpPr>
          <p:cNvPr id="38" name="Ellipse 37">
            <a:extLst>
              <a:ext uri="{FF2B5EF4-FFF2-40B4-BE49-F238E27FC236}">
                <a16:creationId xmlns:a16="http://schemas.microsoft.com/office/drawing/2014/main" id="{B7B4D921-2183-4BED-9657-452AA0DFAA60}"/>
              </a:ext>
            </a:extLst>
          </p:cNvPr>
          <p:cNvSpPr/>
          <p:nvPr/>
        </p:nvSpPr>
        <p:spPr>
          <a:xfrm>
            <a:off x="3856852" y="4424186"/>
            <a:ext cx="144000" cy="144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de-DE" sz="800" b="1" dirty="0">
                <a:solidFill>
                  <a:schemeClr val="tx1"/>
                </a:solidFill>
                <a:latin typeface="Newson GLS" panose="020B0603040202020204" pitchFamily="34" charset="0"/>
                <a:ea typeface="Newson GLS" panose="020B0603040202020204" pitchFamily="34" charset="0"/>
              </a:rPr>
              <a:t>3</a:t>
            </a:r>
          </a:p>
        </p:txBody>
      </p:sp>
      <p:sp>
        <p:nvSpPr>
          <p:cNvPr id="46" name="Ellipse 45">
            <a:extLst>
              <a:ext uri="{FF2B5EF4-FFF2-40B4-BE49-F238E27FC236}">
                <a16:creationId xmlns:a16="http://schemas.microsoft.com/office/drawing/2014/main" id="{2C7E8629-CD56-4427-A980-AAF2CF67F16E}"/>
              </a:ext>
            </a:extLst>
          </p:cNvPr>
          <p:cNvSpPr/>
          <p:nvPr/>
        </p:nvSpPr>
        <p:spPr>
          <a:xfrm>
            <a:off x="3856852" y="4819586"/>
            <a:ext cx="144000" cy="144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de-DE" sz="800" b="1" dirty="0">
                <a:solidFill>
                  <a:schemeClr val="tx1"/>
                </a:solidFill>
                <a:latin typeface="Newson GLS" panose="020B0603040202020204" pitchFamily="34" charset="0"/>
                <a:ea typeface="Newson GLS" panose="020B0603040202020204" pitchFamily="34" charset="0"/>
              </a:rPr>
              <a:t>4</a:t>
            </a:r>
          </a:p>
        </p:txBody>
      </p:sp>
      <p:sp>
        <p:nvSpPr>
          <p:cNvPr id="47" name="Textfeld 46">
            <a:extLst>
              <a:ext uri="{FF2B5EF4-FFF2-40B4-BE49-F238E27FC236}">
                <a16:creationId xmlns:a16="http://schemas.microsoft.com/office/drawing/2014/main" id="{BA787FBC-8B4A-4B6D-8B47-8C8B40F989F0}"/>
              </a:ext>
            </a:extLst>
          </p:cNvPr>
          <p:cNvSpPr txBox="1"/>
          <p:nvPr/>
        </p:nvSpPr>
        <p:spPr>
          <a:xfrm>
            <a:off x="4114629" y="4716735"/>
            <a:ext cx="1816761" cy="349702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effectLst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900" dirty="0">
                <a:latin typeface="Newson GLS" panose="020B0603040202020204" pitchFamily="34" charset="0"/>
                <a:ea typeface="Newson GLS" panose="020B0603040202020204" pitchFamily="34" charset="0"/>
              </a:rPr>
              <a:t>Hier gelangen Sie zur </a:t>
            </a:r>
            <a:r>
              <a:rPr lang="de-DE" sz="900" b="1" dirty="0">
                <a:latin typeface="Newson GLS" panose="020B0603040202020204" pitchFamily="34" charset="0"/>
                <a:ea typeface="Newson GLS" panose="020B0603040202020204" pitchFamily="34" charset="0"/>
              </a:rPr>
              <a:t>GLS Group Homepage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0FF23189-20BE-CD98-D06A-163C2260BCD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7939" y="356391"/>
            <a:ext cx="5163451" cy="3875329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8" name="Ellipse 7">
            <a:extLst>
              <a:ext uri="{FF2B5EF4-FFF2-40B4-BE49-F238E27FC236}">
                <a16:creationId xmlns:a16="http://schemas.microsoft.com/office/drawing/2014/main" id="{B8C227EA-D214-4E6D-BEDF-22834850F220}"/>
              </a:ext>
            </a:extLst>
          </p:cNvPr>
          <p:cNvSpPr/>
          <p:nvPr/>
        </p:nvSpPr>
        <p:spPr>
          <a:xfrm>
            <a:off x="1236749" y="688073"/>
            <a:ext cx="144000" cy="144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de-DE" sz="800" b="1" dirty="0">
                <a:solidFill>
                  <a:schemeClr val="tx1"/>
                </a:solidFill>
                <a:latin typeface="Newson GLS" panose="020B0603040202020204" pitchFamily="34" charset="0"/>
                <a:ea typeface="Newson GLS" panose="020B0603040202020204" pitchFamily="34" charset="0"/>
              </a:rPr>
              <a:t>1</a:t>
            </a:r>
          </a:p>
        </p:txBody>
      </p:sp>
      <p:sp>
        <p:nvSpPr>
          <p:cNvPr id="22" name="Ellipse 21">
            <a:extLst>
              <a:ext uri="{FF2B5EF4-FFF2-40B4-BE49-F238E27FC236}">
                <a16:creationId xmlns:a16="http://schemas.microsoft.com/office/drawing/2014/main" id="{C8212638-18AA-4F5B-9630-5FD28D42FD24}"/>
              </a:ext>
            </a:extLst>
          </p:cNvPr>
          <p:cNvSpPr/>
          <p:nvPr/>
        </p:nvSpPr>
        <p:spPr>
          <a:xfrm>
            <a:off x="3277426" y="2021097"/>
            <a:ext cx="144000" cy="144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de-DE" sz="800" b="1" dirty="0">
                <a:solidFill>
                  <a:schemeClr val="tx1"/>
                </a:solidFill>
                <a:latin typeface="Newson GLS" panose="020B0603040202020204" pitchFamily="34" charset="0"/>
                <a:ea typeface="Newson GLS" panose="020B0603040202020204" pitchFamily="34" charset="0"/>
              </a:rPr>
              <a:t>2</a:t>
            </a:r>
          </a:p>
        </p:txBody>
      </p:sp>
      <p:sp>
        <p:nvSpPr>
          <p:cNvPr id="42" name="Ellipse 41">
            <a:extLst>
              <a:ext uri="{FF2B5EF4-FFF2-40B4-BE49-F238E27FC236}">
                <a16:creationId xmlns:a16="http://schemas.microsoft.com/office/drawing/2014/main" id="{D3089898-E62F-4125-A023-B9805F69DA5A}"/>
              </a:ext>
            </a:extLst>
          </p:cNvPr>
          <p:cNvSpPr/>
          <p:nvPr/>
        </p:nvSpPr>
        <p:spPr>
          <a:xfrm>
            <a:off x="4935874" y="2021097"/>
            <a:ext cx="144000" cy="144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de-DE" sz="800" b="1" dirty="0">
                <a:solidFill>
                  <a:schemeClr val="tx1"/>
                </a:solidFill>
                <a:latin typeface="Newson GLS" panose="020B0603040202020204" pitchFamily="34" charset="0"/>
                <a:ea typeface="Newson GLS" panose="020B0603040202020204" pitchFamily="34" charset="0"/>
              </a:rPr>
              <a:t>3</a:t>
            </a:r>
          </a:p>
        </p:txBody>
      </p:sp>
      <p:sp>
        <p:nvSpPr>
          <p:cNvPr id="43" name="Ellipse 42">
            <a:extLst>
              <a:ext uri="{FF2B5EF4-FFF2-40B4-BE49-F238E27FC236}">
                <a16:creationId xmlns:a16="http://schemas.microsoft.com/office/drawing/2014/main" id="{9292B92A-4C0F-44A0-B5DE-31FAF79B6EE5}"/>
              </a:ext>
            </a:extLst>
          </p:cNvPr>
          <p:cNvSpPr/>
          <p:nvPr/>
        </p:nvSpPr>
        <p:spPr>
          <a:xfrm>
            <a:off x="3277426" y="3264437"/>
            <a:ext cx="144000" cy="144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de-DE" sz="800" b="1" dirty="0">
                <a:solidFill>
                  <a:schemeClr val="tx1"/>
                </a:solidFill>
                <a:latin typeface="Newson GLS" panose="020B0603040202020204" pitchFamily="34" charset="0"/>
                <a:ea typeface="Newson GLS" panose="020B0603040202020204" pitchFamily="34" charset="0"/>
              </a:rPr>
              <a:t>4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D68683CA-D747-4F72-855C-D100B6960514}"/>
              </a:ext>
            </a:extLst>
          </p:cNvPr>
          <p:cNvSpPr/>
          <p:nvPr/>
        </p:nvSpPr>
        <p:spPr>
          <a:xfrm>
            <a:off x="2533252" y="1160414"/>
            <a:ext cx="1632348" cy="272660"/>
          </a:xfrm>
          <a:prstGeom prst="rect">
            <a:avLst/>
          </a:prstGeom>
          <a:solidFill>
            <a:srgbClr val="003C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de-DE" sz="900" b="1" dirty="0">
                <a:latin typeface="Calibri" panose="020F0502020204030204" pitchFamily="34" charset="0"/>
                <a:ea typeface="Newson GLS" panose="020B0603040202020204" pitchFamily="34" charset="0"/>
                <a:cs typeface="Calibri" panose="020F0502020204030204" pitchFamily="34" charset="0"/>
              </a:rPr>
              <a:t>KUNDE</a:t>
            </a:r>
            <a:r>
              <a:rPr lang="de-DE" sz="800" b="1" dirty="0">
                <a:latin typeface="Calibri" panose="020F0502020204030204" pitchFamily="34" charset="0"/>
                <a:ea typeface="Newson GLS" panose="020B0603040202020204" pitchFamily="34" charset="0"/>
                <a:cs typeface="Calibri" panose="020F0502020204030204" pitchFamily="34" charset="0"/>
              </a:rPr>
              <a:t> </a:t>
            </a:r>
            <a:r>
              <a:rPr lang="de-DE" sz="900" b="1" dirty="0">
                <a:latin typeface="Calibri" panose="020F0502020204030204" pitchFamily="34" charset="0"/>
                <a:ea typeface="Newson GLS" panose="020B0603040202020204" pitchFamily="34" charset="0"/>
                <a:cs typeface="Calibri" panose="020F0502020204030204" pitchFamily="34" charset="0"/>
              </a:rPr>
              <a:t>|</a:t>
            </a:r>
            <a:r>
              <a:rPr lang="de-DE" sz="800" b="1" dirty="0">
                <a:latin typeface="Calibri" panose="020F0502020204030204" pitchFamily="34" charset="0"/>
                <a:ea typeface="Newson GLS" panose="020B0603040202020204" pitchFamily="34" charset="0"/>
                <a:cs typeface="Calibri" panose="020F0502020204030204" pitchFamily="34" charset="0"/>
              </a:rPr>
              <a:t> </a:t>
            </a:r>
            <a:r>
              <a:rPr lang="de-DE" sz="900" b="1" dirty="0">
                <a:latin typeface="Calibri" panose="020F0502020204030204" pitchFamily="34" charset="0"/>
                <a:ea typeface="Newson GLS" panose="020B0603040202020204" pitchFamily="34" charset="0"/>
                <a:cs typeface="Calibri" panose="020F0502020204030204" pitchFamily="34" charset="0"/>
              </a:rPr>
              <a:t>KUNDENNAME</a:t>
            </a:r>
            <a:endParaRPr lang="de-DE" sz="800" b="1" dirty="0">
              <a:latin typeface="Calibri" panose="020F0502020204030204" pitchFamily="34" charset="0"/>
              <a:ea typeface="Newson GLS" panose="020B060304020202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3B2CFA18-6B0B-6616-09B7-80138DE2161A}"/>
              </a:ext>
            </a:extLst>
          </p:cNvPr>
          <p:cNvSpPr/>
          <p:nvPr/>
        </p:nvSpPr>
        <p:spPr>
          <a:xfrm>
            <a:off x="4644742" y="464427"/>
            <a:ext cx="1286648" cy="144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de-DE" sz="800" dirty="0">
                <a:solidFill>
                  <a:srgbClr val="616160"/>
                </a:solidFill>
              </a:rPr>
              <a:t>12345-1234-12345</a:t>
            </a:r>
          </a:p>
        </p:txBody>
      </p:sp>
    </p:spTree>
    <p:extLst>
      <p:ext uri="{BB962C8B-B14F-4D97-AF65-F5344CB8AC3E}">
        <p14:creationId xmlns:p14="http://schemas.microsoft.com/office/powerpoint/2010/main" val="188629015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86CC1DF6-00DD-4FBE-B9CB-B5D0973812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4477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4" progId="TCLayout.ActiveDocument.1">
                  <p:embed/>
                </p:oleObj>
              </mc:Choice>
              <mc:Fallback>
                <p:oleObj name="think-cell Folie" r:id="rId3" imgW="425" imgH="424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86CC1DF6-00DD-4FBE-B9CB-B5D0973812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65552F14-A1E3-4604-8202-F72420C841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43EC4F4-91B5-492D-B43E-B1C2126FDC8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9932" y="822960"/>
            <a:ext cx="4103648" cy="1829485"/>
          </a:xfrm>
        </p:spPr>
        <p:txBody>
          <a:bodyPr vert="horz"/>
          <a:lstStyle/>
          <a:p>
            <a:r>
              <a:rPr lang="de-DE" sz="1800" b="0" dirty="0">
                <a:latin typeface="Newson GLS" panose="020B0603040202020204" pitchFamily="34" charset="0"/>
                <a:ea typeface="Newson GLS" panose="020B0603040202020204" pitchFamily="34" charset="0"/>
              </a:rPr>
              <a:t>Sie erhalten </a:t>
            </a:r>
            <a:r>
              <a:rPr lang="de-DE" sz="1800" dirty="0">
                <a:latin typeface="Newson GLS" panose="020B0603040202020204" pitchFamily="34" charset="0"/>
                <a:ea typeface="Newson GLS" panose="020B0603040202020204" pitchFamily="34" charset="0"/>
              </a:rPr>
              <a:t>jährlich</a:t>
            </a:r>
            <a:r>
              <a:rPr lang="de-DE" sz="1800" b="0" dirty="0">
                <a:latin typeface="Newson GLS" panose="020B0603040202020204" pitchFamily="34" charset="0"/>
                <a:ea typeface="Newson GLS" panose="020B0603040202020204" pitchFamily="34" charset="0"/>
              </a:rPr>
              <a:t> ein </a:t>
            </a:r>
            <a:br>
              <a:rPr lang="de-DE" sz="1800" b="0" dirty="0">
                <a:latin typeface="Newson GLS" panose="020B0603040202020204" pitchFamily="34" charset="0"/>
                <a:ea typeface="Newson GLS" panose="020B0603040202020204" pitchFamily="34" charset="0"/>
              </a:rPr>
            </a:br>
            <a:r>
              <a:rPr lang="de-DE" sz="1800" b="0" dirty="0">
                <a:latin typeface="Newson GLS" panose="020B0603040202020204" pitchFamily="34" charset="0"/>
                <a:ea typeface="Newson GLS" panose="020B0603040202020204" pitchFamily="34" charset="0"/>
              </a:rPr>
              <a:t>Zertifikat, das offiziell </a:t>
            </a:r>
            <a:r>
              <a:rPr lang="de-DE" sz="1800">
                <a:latin typeface="Newson GLS" panose="020B0603040202020204" pitchFamily="34" charset="0"/>
                <a:ea typeface="Newson GLS" panose="020B0603040202020204" pitchFamily="34" charset="0"/>
              </a:rPr>
              <a:t>Ihren Beitrag </a:t>
            </a:r>
            <a:r>
              <a:rPr lang="de-DE" sz="1800" dirty="0">
                <a:latin typeface="Newson GLS" panose="020B0603040202020204" pitchFamily="34" charset="0"/>
                <a:ea typeface="Newson GLS" panose="020B0603040202020204" pitchFamily="34" charset="0"/>
              </a:rPr>
              <a:t>zur </a:t>
            </a:r>
            <a:r>
              <a:rPr lang="de-DE" sz="1800" dirty="0">
                <a:latin typeface="Newson GLS" panose="020B0603040202020204" pitchFamily="34" charset="0"/>
                <a:ea typeface="Newson GLS" panose="020B0603040202020204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missionskompensation</a:t>
            </a:r>
            <a:r>
              <a:rPr lang="de-DE" sz="1800" baseline="30000" dirty="0">
                <a:latin typeface="Newson GLS" panose="020B0603040202020204" pitchFamily="34" charset="0"/>
                <a:ea typeface="Newson GLS" panose="020B0603040202020204" pitchFamily="34" charset="0"/>
              </a:rPr>
              <a:t>*</a:t>
            </a:r>
            <a:r>
              <a:rPr lang="de-DE" sz="1800" dirty="0">
                <a:latin typeface="Newson GLS" panose="020B0603040202020204" pitchFamily="34" charset="0"/>
                <a:ea typeface="Newson GLS" panose="020B0603040202020204" pitchFamily="34" charset="0"/>
              </a:rPr>
              <a:t> </a:t>
            </a:r>
            <a:r>
              <a:rPr lang="de-DE" sz="1800" b="0" dirty="0">
                <a:latin typeface="Newson GLS" panose="020B0603040202020204" pitchFamily="34" charset="0"/>
                <a:ea typeface="Newson GLS" panose="020B0603040202020204" pitchFamily="34" charset="0"/>
              </a:rPr>
              <a:t>über Klimaschutzprojekte</a:t>
            </a:r>
            <a:r>
              <a:rPr lang="de-DE" sz="1800" dirty="0">
                <a:latin typeface="Newson GLS" panose="020B0603040202020204" pitchFamily="34" charset="0"/>
                <a:ea typeface="Newson GLS" panose="020B0603040202020204" pitchFamily="34" charset="0"/>
              </a:rPr>
              <a:t> </a:t>
            </a:r>
            <a:r>
              <a:rPr lang="de-DE" sz="1800" b="0" dirty="0">
                <a:latin typeface="Newson GLS" panose="020B0603040202020204" pitchFamily="34" charset="0"/>
                <a:ea typeface="Newson GLS" panose="020B0603040202020204" pitchFamily="34" charset="0"/>
              </a:rPr>
              <a:t>bestätigt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697B4DFD-F9F9-4A83-ABA8-8D814ADAA84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69768" y="48491"/>
            <a:ext cx="3576464" cy="5036128"/>
          </a:xfrm>
          <a:prstGeom prst="rect">
            <a:avLst/>
          </a:prstGeom>
          <a:ln>
            <a:solidFill>
              <a:schemeClr val="tx1">
                <a:lumMod val="10000"/>
                <a:lumOff val="90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55DAFE5B-36C1-4E8E-86EE-BBE9C83A89C1}"/>
              </a:ext>
            </a:extLst>
          </p:cNvPr>
          <p:cNvSpPr txBox="1"/>
          <p:nvPr/>
        </p:nvSpPr>
        <p:spPr>
          <a:xfrm>
            <a:off x="5237034" y="211191"/>
            <a:ext cx="2140528" cy="3497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b="1" dirty="0">
                <a:solidFill>
                  <a:schemeClr val="bg1">
                    <a:lumMod val="85000"/>
                  </a:schemeClr>
                </a:solidFill>
                <a:latin typeface="Newson GLS" panose="020B0603040202020204" pitchFamily="34" charset="0"/>
                <a:ea typeface="Newson GLS" panose="020B0603040202020204" pitchFamily="34" charset="0"/>
              </a:rPr>
              <a:t>Beispiel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24D415A4-0EFB-A011-3DD0-67F53704824F}"/>
              </a:ext>
            </a:extLst>
          </p:cNvPr>
          <p:cNvSpPr txBox="1"/>
          <p:nvPr/>
        </p:nvSpPr>
        <p:spPr>
          <a:xfrm>
            <a:off x="0" y="4886131"/>
            <a:ext cx="4259937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600" i="1" dirty="0">
                <a:solidFill>
                  <a:schemeClr val="bg1"/>
                </a:solidFill>
                <a:latin typeface="Newson GLS" panose="020B0603040202020204" pitchFamily="34" charset="0"/>
                <a:ea typeface="Newson GLS" panose="020B0603040202020204" pitchFamily="34" charset="0"/>
              </a:rPr>
              <a:t>*Kompensation der durch den Paketversand entstehenden Treibhausgasemissionen durch Investition in Klimaschutzprojekte. Infos unter </a:t>
            </a:r>
            <a:r>
              <a:rPr lang="de-DE" sz="600" i="1" dirty="0">
                <a:solidFill>
                  <a:schemeClr val="bg1"/>
                </a:solidFill>
                <a:latin typeface="Newson GLS" panose="020B0603040202020204" pitchFamily="34" charset="0"/>
                <a:ea typeface="Newson GLS" panose="020B0603040202020204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ls-group.eu/DE/de/kompensation/</a:t>
            </a:r>
            <a:endParaRPr lang="de-DE" sz="600" i="1" dirty="0">
              <a:solidFill>
                <a:schemeClr val="bg1"/>
              </a:solidFill>
              <a:latin typeface="Newson GLS" panose="020B0603040202020204" pitchFamily="34" charset="0"/>
              <a:ea typeface="Newson GLS" panose="020B060304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90001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069EC30-71A0-42DA-8FF3-BDDC8C9618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77504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4" progId="TCLayout.ActiveDocument.1">
                  <p:embed/>
                </p:oleObj>
              </mc:Choice>
              <mc:Fallback>
                <p:oleObj name="think-cell Folie" r:id="rId3" imgW="425" imgH="42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B069EC30-71A0-42DA-8FF3-BDDC8C9618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Bildplatzhalter 2">
            <a:extLst>
              <a:ext uri="{FF2B5EF4-FFF2-40B4-BE49-F238E27FC236}">
                <a16:creationId xmlns:a16="http://schemas.microsoft.com/office/drawing/2014/main" id="{735F0E7A-E8DF-438A-91F8-265B98AE2E9D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588" y="0"/>
            <a:ext cx="4570412" cy="5143500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D186B75E-DCD5-4541-93F3-4E1B904AC186}"/>
              </a:ext>
            </a:extLst>
          </p:cNvPr>
          <p:cNvSpPr/>
          <p:nvPr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de-DE" sz="1000" dirty="0" err="1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120D4CB7-9B3C-4841-87E9-2F02325CCE4D}"/>
              </a:ext>
            </a:extLst>
          </p:cNvPr>
          <p:cNvSpPr txBox="1">
            <a:spLocks/>
          </p:cNvSpPr>
          <p:nvPr/>
        </p:nvSpPr>
        <p:spPr>
          <a:xfrm>
            <a:off x="4968240" y="1705132"/>
            <a:ext cx="3779520" cy="866618"/>
          </a:xfrm>
          <a:prstGeom prst="rect">
            <a:avLst/>
          </a:prstGeom>
        </p:spPr>
        <p:txBody>
          <a:bodyPr vert="horz" lIns="90000" tIns="46800" rIns="90000" bIns="4680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nl-NL" sz="2000" dirty="0">
                <a:solidFill>
                  <a:schemeClr val="bg1"/>
                </a:solidFill>
                <a:latin typeface="Newson GLS" panose="020B0603040202020204" pitchFamily="34" charset="0"/>
                <a:ea typeface="Newson GLS" panose="020B0603040202020204" pitchFamily="34" charset="0"/>
              </a:rPr>
              <a:t>Vielen Dank für Ihren Beitrag zur Nachhaltigkeit!</a:t>
            </a:r>
          </a:p>
        </p:txBody>
      </p:sp>
      <p:pic>
        <p:nvPicPr>
          <p:cNvPr id="9" name="Afbeelding 5">
            <a:extLst>
              <a:ext uri="{FF2B5EF4-FFF2-40B4-BE49-F238E27FC236}">
                <a16:creationId xmlns:a16="http://schemas.microsoft.com/office/drawing/2014/main" id="{F31C4063-79A7-48CE-8983-0C5E25BF6E5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3029" y="2571750"/>
            <a:ext cx="1489942" cy="56617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976428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LS 2021">
  <a:themeElements>
    <a:clrScheme name="GLS">
      <a:dk1>
        <a:srgbClr val="231F20"/>
      </a:dk1>
      <a:lt1>
        <a:srgbClr val="FFFFFF"/>
      </a:lt1>
      <a:dk2>
        <a:srgbClr val="061AB1"/>
      </a:dk2>
      <a:lt2>
        <a:srgbClr val="FFD100"/>
      </a:lt2>
      <a:accent1>
        <a:srgbClr val="C8E7F2"/>
      </a:accent1>
      <a:accent2>
        <a:srgbClr val="F3C8D4"/>
      </a:accent2>
      <a:accent3>
        <a:srgbClr val="C0E2AD"/>
      </a:accent3>
      <a:accent4>
        <a:srgbClr val="1601FF"/>
      </a:accent4>
      <a:accent5>
        <a:srgbClr val="00C2F0"/>
      </a:accent5>
      <a:accent6>
        <a:srgbClr val="FF860D"/>
      </a:accent6>
      <a:hlink>
        <a:srgbClr val="061AB1"/>
      </a:hlink>
      <a:folHlink>
        <a:srgbClr val="061AB1"/>
      </a:folHlink>
    </a:clrScheme>
    <a:fontScheme name="GLS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lIns="36000" tIns="36000" rIns="36000" bIns="36000" rtlCol="0" anchor="ctr"/>
      <a:lstStyle>
        <a:defPPr algn="ctr">
          <a:defRPr sz="1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36000" tIns="36000" rIns="36000" bIns="36000" rtlCol="0">
        <a:spAutoFit/>
      </a:bodyPr>
      <a:lstStyle>
        <a:defPPr>
          <a:defRPr sz="1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LS_Powerpoint_TEMPLATE_DE_2021-10_final.potx" id="{70938C5E-DB24-488C-96C4-7B45CEF0B66C}" vid="{B11040B1-626B-4B3E-AD25-EFA67DE8BC4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99ac789d-4ceb-4727-b128-bae3231c8c78">
      <Terms xmlns="http://schemas.microsoft.com/office/infopath/2007/PartnerControls"/>
    </lcf76f155ced4ddcb4097134ff3c332f>
    <TaxCatchAll xmlns="e5f72f91-fe08-47dc-b0ca-62450bbcbd66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B3018B42E88AAB469309FB0026414B05" ma:contentTypeVersion="16" ma:contentTypeDescription="Ein neues Dokument erstellen." ma:contentTypeScope="" ma:versionID="c1e597034af8167dbcb72ba4692b5814">
  <xsd:schema xmlns:xsd="http://www.w3.org/2001/XMLSchema" xmlns:xs="http://www.w3.org/2001/XMLSchema" xmlns:p="http://schemas.microsoft.com/office/2006/metadata/properties" xmlns:ns2="99ac789d-4ceb-4727-b128-bae3231c8c78" xmlns:ns3="e5f72f91-fe08-47dc-b0ca-62450bbcbd66" targetNamespace="http://schemas.microsoft.com/office/2006/metadata/properties" ma:root="true" ma:fieldsID="87dd97f70c2ae47c54195b7f07965f71" ns2:_="" ns3:_="">
    <xsd:import namespace="99ac789d-4ceb-4727-b128-bae3231c8c78"/>
    <xsd:import namespace="e5f72f91-fe08-47dc-b0ca-62450bbcbd6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DateTaken" minOccurs="0"/>
                <xsd:element ref="ns2:MediaLengthInSeconds" minOccurs="0"/>
                <xsd:element ref="ns2:MediaServiceLocation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9ac789d-4ceb-4727-b128-bae3231c8c7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0" nillable="true" ma:taxonomy="true" ma:internalName="lcf76f155ced4ddcb4097134ff3c332f" ma:taxonomyFieldName="MediaServiceImageTags" ma:displayName="Bildmarkierungen" ma:readOnly="false" ma:fieldId="{5cf76f15-5ced-4ddc-b409-7134ff3c332f}" ma:taxonomyMulti="true" ma:sspId="ef3fdef3-1b22-4944-a43e-368a12428d6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5f72f91-fe08-47dc-b0ca-62450bbcbd66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1" nillable="true" ma:displayName="Taxonomy Catch All Column" ma:hidden="true" ma:list="{e045b310-172a-4274-be72-b77a9bb78c40}" ma:internalName="TaxCatchAll" ma:showField="CatchAllData" ma:web="e5f72f91-fe08-47dc-b0ca-62450bbcbd6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01A1495-94FC-4477-B71F-1B9038C6D5C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CB42503-29D2-4D29-A567-966791AD0CD9}">
  <ds:schemaRefs>
    <ds:schemaRef ds:uri="http://schemas.microsoft.com/office/2006/documentManagement/types"/>
    <ds:schemaRef ds:uri="http://schemas.microsoft.com/office/infopath/2007/PartnerControls"/>
    <ds:schemaRef ds:uri="http://purl.org/dc/terms/"/>
    <ds:schemaRef ds:uri="http://schemas.openxmlformats.org/package/2006/metadata/core-properties"/>
    <ds:schemaRef ds:uri="http://www.w3.org/XML/1998/namespace"/>
    <ds:schemaRef ds:uri="http://purl.org/dc/elements/1.1/"/>
    <ds:schemaRef ds:uri="e5f72f91-fe08-47dc-b0ca-62450bbcbd66"/>
    <ds:schemaRef ds:uri="99ac789d-4ceb-4727-b128-bae3231c8c78"/>
    <ds:schemaRef ds:uri="http://schemas.microsoft.com/office/2006/metadata/properties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DFF9B8DB-78A6-49DA-8054-6130CAD70346}"/>
</file>

<file path=docProps/app.xml><?xml version="1.0" encoding="utf-8"?>
<Properties xmlns="http://schemas.openxmlformats.org/officeDocument/2006/extended-properties" xmlns:vt="http://schemas.openxmlformats.org/officeDocument/2006/docPropsVTypes">
  <Template>GLS_Powerpoint_TEMPLATE_DE_2021-10_final</Template>
  <TotalTime>0</TotalTime>
  <Words>242</Words>
  <Application>Microsoft Office PowerPoint</Application>
  <PresentationFormat>Bildschirmpräsentation (16:9)</PresentationFormat>
  <Paragraphs>37</Paragraphs>
  <Slides>7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7</vt:i4>
      </vt:variant>
    </vt:vector>
  </HeadingPairs>
  <TitlesOfParts>
    <vt:vector size="14" baseType="lpstr">
      <vt:lpstr>Arial</vt:lpstr>
      <vt:lpstr>Calibri</vt:lpstr>
      <vt:lpstr>Courier New</vt:lpstr>
      <vt:lpstr>Newson GLS</vt:lpstr>
      <vt:lpstr>Verdana</vt:lpstr>
      <vt:lpstr>GLS 2021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Sie erhalten jährlich ein  Zertifikat, das offiziell Ihren Beitrag zur Emissionskompensation* über Klimaschutzprojekte bestätigt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Dimitri Militschenko</dc:creator>
  <cp:lastModifiedBy>Dimitri Militschenko</cp:lastModifiedBy>
  <cp:revision>30</cp:revision>
  <dcterms:created xsi:type="dcterms:W3CDTF">2022-10-10T13:21:29Z</dcterms:created>
  <dcterms:modified xsi:type="dcterms:W3CDTF">2024-07-03T07:34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3018B42E88AAB469309FB0026414B05</vt:lpwstr>
  </property>
  <property fmtid="{D5CDD505-2E9C-101B-9397-08002B2CF9AE}" pid="3" name="MediaServiceImageTags">
    <vt:lpwstr/>
  </property>
</Properties>
</file>